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2.xml" ContentType="application/vnd.openxmlformats-officedocument.them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heme/theme3.xml" ContentType="application/vnd.openxmlformats-officedocument.them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charts/chart1.xml" ContentType="application/vnd.openxmlformats-officedocument.drawingml.chart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notesSlides/notesSlide1.xml" ContentType="application/vnd.openxmlformats-officedocument.presentationml.notesSlide+xml"/>
  <Override PartName="/ppt/tags/tag117.xml" ContentType="application/vnd.openxmlformats-officedocument.presentationml.tags+xml"/>
  <Override PartName="/ppt/notesSlides/notesSlide2.xml" ContentType="application/vnd.openxmlformats-officedocument.presentationml.notesSlid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notesSlides/notesSlide3.xml" ContentType="application/vnd.openxmlformats-officedocument.presentationml.notesSlide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6" r:id="rId1"/>
    <p:sldMasterId id="2147483787" r:id="rId2"/>
  </p:sldMasterIdLst>
  <p:notesMasterIdLst>
    <p:notesMasterId r:id="rId21"/>
  </p:notesMasterIdLst>
  <p:sldIdLst>
    <p:sldId id="322" r:id="rId3"/>
    <p:sldId id="310" r:id="rId4"/>
    <p:sldId id="311" r:id="rId5"/>
    <p:sldId id="361" r:id="rId6"/>
    <p:sldId id="276" r:id="rId7"/>
    <p:sldId id="332" r:id="rId8"/>
    <p:sldId id="338" r:id="rId9"/>
    <p:sldId id="336" r:id="rId10"/>
    <p:sldId id="328" r:id="rId11"/>
    <p:sldId id="334" r:id="rId12"/>
    <p:sldId id="340" r:id="rId13"/>
    <p:sldId id="335" r:id="rId14"/>
    <p:sldId id="344" r:id="rId15"/>
    <p:sldId id="285" r:id="rId16"/>
    <p:sldId id="301" r:id="rId17"/>
    <p:sldId id="296" r:id="rId18"/>
    <p:sldId id="294" r:id="rId19"/>
    <p:sldId id="297" r:id="rId20"/>
  </p:sldIdLst>
  <p:sldSz cx="12192000" cy="6858000"/>
  <p:notesSz cx="6797675" cy="9872663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as, Christine LEG" initials="MC" lastIdx="2" clrIdx="0">
    <p:extLst>
      <p:ext uri="{19B8F6BF-5375-455C-9EA6-DF929625EA0E}">
        <p15:presenceInfo xmlns:p15="http://schemas.microsoft.com/office/powerpoint/2012/main" userId="Maas, Christine LEG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5812"/>
    <a:srgbClr val="004560"/>
    <a:srgbClr val="6AB023"/>
    <a:srgbClr val="C9D30E"/>
    <a:srgbClr val="FFCC00"/>
    <a:srgbClr val="F1992D"/>
    <a:srgbClr val="005274"/>
    <a:srgbClr val="0089C1"/>
    <a:srgbClr val="C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62" autoAdjust="0"/>
    <p:restoredTop sz="94660"/>
  </p:normalViewPr>
  <p:slideViewPr>
    <p:cSldViewPr snapToGrid="0">
      <p:cViewPr varScale="1">
        <p:scale>
          <a:sx n="119" d="100"/>
          <a:sy n="119" d="100"/>
        </p:scale>
        <p:origin x="102" y="3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Umsatzanteil in 2014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137-4BD6-997A-1BE8838ED15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137-4BD6-997A-1BE8838ED156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E00B-4850-8EEA-80F852D677B4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00B-4850-8EEA-80F852D677B4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137-4BD6-997A-1BE8838ED156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137-4BD6-997A-1BE8838ED156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137-4BD6-997A-1BE8838ED156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7137-4BD6-997A-1BE8838ED156}"/>
              </c:ext>
            </c:extLst>
          </c:dPt>
          <c:dLbls>
            <c:dLbl>
              <c:idx val="2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2-E00B-4850-8EEA-80F852D677B4}"/>
                </c:ext>
              </c:extLst>
            </c:dLbl>
            <c:dLbl>
              <c:idx val="3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1-E00B-4850-8EEA-80F852D677B4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</c15:spPr>
              </c:ext>
            </c:extLst>
          </c:dLbls>
          <c:cat>
            <c:strRef>
              <c:f>Tabelle1!$A$2:$A$9</c:f>
              <c:strCache>
                <c:ptCount val="8"/>
                <c:pt idx="0">
                  <c:v>Maschinenbau und Automobilindustrie</c:v>
                </c:pt>
                <c:pt idx="1">
                  <c:v>Metallerzeugung, -bearbeitung und Herstellung von Metallerzeugnissen</c:v>
                </c:pt>
                <c:pt idx="2">
                  <c:v>Elektronik, Optik, Feinmechanik</c:v>
                </c:pt>
                <c:pt idx="3">
                  <c:v>Nahrungsmittelindustrie</c:v>
                </c:pt>
                <c:pt idx="4">
                  <c:v>Gummi- und Kunststoffindustrie</c:v>
                </c:pt>
                <c:pt idx="5">
                  <c:v>Holz, Papier und Druckgewerbe</c:v>
                </c:pt>
                <c:pt idx="6">
                  <c:v>Glas, Keramik, Verarbeitung von nichtmetallischen Mineralien</c:v>
                </c:pt>
                <c:pt idx="7">
                  <c:v>Andere</c:v>
                </c:pt>
              </c:strCache>
            </c:strRef>
          </c:cat>
          <c:val>
            <c:numRef>
              <c:f>Tabelle1!$B$2:$B$9</c:f>
              <c:numCache>
                <c:formatCode>0%</c:formatCode>
                <c:ptCount val="8"/>
                <c:pt idx="0">
                  <c:v>0.23</c:v>
                </c:pt>
                <c:pt idx="1">
                  <c:v>0.17799999999999999</c:v>
                </c:pt>
                <c:pt idx="2">
                  <c:v>0.14199999999999999</c:v>
                </c:pt>
                <c:pt idx="3">
                  <c:v>0.124</c:v>
                </c:pt>
                <c:pt idx="4">
                  <c:v>9.7000000000000003E-2</c:v>
                </c:pt>
                <c:pt idx="5">
                  <c:v>6.4000000000000001E-2</c:v>
                </c:pt>
                <c:pt idx="6">
                  <c:v>4.3999999999999997E-2</c:v>
                </c:pt>
                <c:pt idx="7">
                  <c:v>0.1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00B-4850-8EEA-80F852D677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626723473605041"/>
          <c:y val="0.20616152204070662"/>
          <c:w val="0.72078750178764894"/>
          <c:h val="0.64329782220284704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E45-43D4-AE7C-F20ADC7C75C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3E45-43D4-AE7C-F20ADC7C75C3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E45-43D4-AE7C-F20ADC7C75C3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3E45-43D4-AE7C-F20ADC7C75C3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1-3E45-43D4-AE7C-F20ADC7C75C3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2-3E45-43D4-AE7C-F20ADC7C75C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</c15:spPr>
              </c:ext>
            </c:extLst>
          </c:dLbls>
          <c:cat>
            <c:strRef>
              <c:f>Tabelle1!$A$2:$A$5</c:f>
              <c:strCache>
                <c:ptCount val="4"/>
                <c:pt idx="0">
                  <c:v>Facharbeiter</c:v>
                </c:pt>
                <c:pt idx="1">
                  <c:v>Fachschule, Meister, Techniker, Kolleg</c:v>
                </c:pt>
                <c:pt idx="2">
                  <c:v>Universitäts- und FH-Abschluss</c:v>
                </c:pt>
                <c:pt idx="3">
                  <c:v>Andere</c:v>
                </c:pt>
              </c:strCache>
            </c:strRef>
          </c:cat>
          <c:val>
            <c:numRef>
              <c:f>Tabelle1!$B$2:$B$5</c:f>
              <c:numCache>
                <c:formatCode>0%</c:formatCode>
                <c:ptCount val="4"/>
                <c:pt idx="0">
                  <c:v>0.56999999999999995</c:v>
                </c:pt>
                <c:pt idx="1">
                  <c:v>0.22</c:v>
                </c:pt>
                <c:pt idx="2">
                  <c:v>0.14000000000000001</c:v>
                </c:pt>
                <c:pt idx="3">
                  <c:v>7.00000000000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45-43D4-AE7C-F20ADC7C75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61"/>
        <c:holeSize val="69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A2E65A-BE1F-4AC9-89CB-D81A5333F883}" type="datetimeFigureOut">
              <a:rPr lang="de-DE" smtClean="0"/>
              <a:t>24.02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1235075"/>
            <a:ext cx="5921375" cy="3330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51224"/>
            <a:ext cx="5438140" cy="38873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377323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377323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C8BB91-2D1F-4851-AFBF-6C297F35855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90659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FF82D2-E1E7-42C2-B8CB-060B44653FBA}" type="slidenum">
              <a:rPr lang="en-GB" smtClean="0"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333822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FF82D2-E1E7-42C2-B8CB-060B44653FBA}" type="slidenum">
              <a:rPr lang="en-GB" smtClean="0"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61639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="1" dirty="0"/>
              <a:t>AST</a:t>
            </a:r>
            <a:r>
              <a:rPr lang="de-DE" dirty="0"/>
              <a:t> – Institut für angewandte Systemtechnik – Smart Grids – autonome Landfahrzeuge</a:t>
            </a:r>
          </a:p>
          <a:p>
            <a:r>
              <a:rPr lang="de-DE" b="1" dirty="0" err="1"/>
              <a:t>CiS</a:t>
            </a:r>
            <a:r>
              <a:rPr lang="de-DE" dirty="0"/>
              <a:t> - Mikromechanischer und Mikrooptischer Sensorsysteme (Micro-Electro-</a:t>
            </a:r>
            <a:r>
              <a:rPr lang="de-DE" dirty="0" err="1"/>
              <a:t>Mechanical</a:t>
            </a:r>
            <a:r>
              <a:rPr lang="de-DE" dirty="0"/>
              <a:t> Systems MEMS und Micro-</a:t>
            </a:r>
            <a:r>
              <a:rPr lang="de-DE" dirty="0" err="1"/>
              <a:t>Opto</a:t>
            </a:r>
            <a:r>
              <a:rPr lang="de-DE" dirty="0"/>
              <a:t>-</a:t>
            </a:r>
            <a:r>
              <a:rPr lang="de-DE" dirty="0" err="1"/>
              <a:t>Mechanical</a:t>
            </a:r>
            <a:r>
              <a:rPr lang="de-DE" dirty="0"/>
              <a:t> Systems MOEMS)  - Mobilität</a:t>
            </a:r>
          </a:p>
          <a:p>
            <a:r>
              <a:rPr lang="de-DE" b="1" dirty="0"/>
              <a:t>IMMS</a:t>
            </a:r>
            <a:r>
              <a:rPr lang="de-DE" dirty="0"/>
              <a:t> - Integrierte Schaltungstechnik / Modellbasierte Entwurfstechnik / Präzisionsantriebstechnik /Steuerungs- und Kommunikationstechnik Fahrzeugtechnik</a:t>
            </a:r>
          </a:p>
          <a:p>
            <a:r>
              <a:rPr lang="de-DE" b="1" dirty="0"/>
              <a:t>Brunel IMG  </a:t>
            </a:r>
            <a:r>
              <a:rPr lang="de-DE" dirty="0"/>
              <a:t>- Auftragsentwicklung und -fertigung von elektronischen Baugruppen und Systemen für Anwendungen in Industrie, Energie- und Fahrzeugtechnik</a:t>
            </a:r>
          </a:p>
          <a:p>
            <a:r>
              <a:rPr lang="de-DE" b="1" dirty="0" err="1"/>
              <a:t>adapt</a:t>
            </a:r>
            <a:r>
              <a:rPr lang="de-DE" b="1" dirty="0"/>
              <a:t> </a:t>
            </a:r>
            <a:r>
              <a:rPr lang="de-DE" b="1" dirty="0" err="1"/>
              <a:t>engineering</a:t>
            </a:r>
            <a:r>
              <a:rPr lang="de-DE" b="1" dirty="0"/>
              <a:t> - </a:t>
            </a:r>
            <a:r>
              <a:rPr lang="de-DE" dirty="0"/>
              <a:t>hochspezialisierten Lösungen, wie der thermodynamischen Optimierung und Emissionsreduzierung an Verbrennungsmotoren </a:t>
            </a:r>
          </a:p>
          <a:p>
            <a:r>
              <a:rPr lang="de-DE" b="1" dirty="0" err="1"/>
              <a:t>Steínbeis</a:t>
            </a:r>
            <a:r>
              <a:rPr lang="de-DE" b="1" dirty="0"/>
              <a:t>  </a:t>
            </a:r>
            <a:r>
              <a:rPr lang="de-DE" dirty="0"/>
              <a:t>- federherstellenden und -anwendenden Industrie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FF82D2-E1E7-42C2-B8CB-060B44653FBA}" type="slidenum">
              <a:rPr lang="en-GB" smtClean="0"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70347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gif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1.xml"/><Relationship Id="rId6" Type="http://schemas.openxmlformats.org/officeDocument/2006/relationships/image" Target="../media/image3.gif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2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5.xml"/><Relationship Id="rId6" Type="http://schemas.openxmlformats.org/officeDocument/2006/relationships/image" Target="../media/image7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6.xml"/><Relationship Id="rId6" Type="http://schemas.openxmlformats.org/officeDocument/2006/relationships/image" Target="../media/image7.gif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7.xml"/><Relationship Id="rId6" Type="http://schemas.openxmlformats.org/officeDocument/2006/relationships/image" Target="../media/image7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8.xml"/><Relationship Id="rId6" Type="http://schemas.openxmlformats.org/officeDocument/2006/relationships/image" Target="../media/image7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9.xml"/><Relationship Id="rId6" Type="http://schemas.openxmlformats.org/officeDocument/2006/relationships/image" Target="../media/image7.gif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7.gi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0.xml"/><Relationship Id="rId6" Type="http://schemas.openxmlformats.org/officeDocument/2006/relationships/image" Target="../media/image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3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7.gi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1.xml"/><Relationship Id="rId6" Type="http://schemas.openxmlformats.org/officeDocument/2006/relationships/image" Target="../media/image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3.gif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2.xml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3.gi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3.xml"/><Relationship Id="rId6" Type="http://schemas.openxmlformats.org/officeDocument/2006/relationships/image" Target="../media/image7.gif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4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3.gi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_Bild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fik 15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11" name="Rectangle 9">
            <a:extLst>
              <a:ext uri="{FF2B5EF4-FFF2-40B4-BE49-F238E27FC236}">
                <a16:creationId xmlns:a16="http://schemas.microsoft.com/office/drawing/2014/main" id="{4541E539-82D7-4793-8E2B-715C223E3C8C}"/>
              </a:ext>
            </a:extLst>
          </p:cNvPr>
          <p:cNvSpPr>
            <a:spLocks/>
          </p:cNvSpPr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0">
            <a:gsLst>
              <a:gs pos="0">
                <a:schemeClr val="accent6"/>
              </a:gs>
              <a:gs pos="100000">
                <a:schemeClr val="accent6">
                  <a:alpha val="70000"/>
                  <a:lumMod val="54000"/>
                </a:schemeClr>
              </a:gs>
            </a:gsLst>
            <a:lin ang="6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DCF6EDC-F177-4B01-8E9B-EAB815736A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0760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DCF6EDC-F177-4B01-8E9B-EAB815736A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oup 13">
            <a:extLst>
              <a:ext uri="{FF2B5EF4-FFF2-40B4-BE49-F238E27FC236}">
                <a16:creationId xmlns:a16="http://schemas.microsoft.com/office/drawing/2014/main" id="{06CA8790-D3EA-407F-8B2E-0E297C528B23}"/>
              </a:ext>
            </a:extLst>
          </p:cNvPr>
          <p:cNvGrpSpPr>
            <a:grpSpLocks/>
          </p:cNvGrpSpPr>
          <p:nvPr/>
        </p:nvGrpSpPr>
        <p:grpSpPr>
          <a:xfrm>
            <a:off x="3806758" y="2110902"/>
            <a:ext cx="4578486" cy="2636198"/>
            <a:chOff x="1558925" y="4192858"/>
            <a:chExt cx="9235455" cy="5374888"/>
          </a:xfrm>
        </p:grpSpPr>
        <p:cxnSp>
          <p:nvCxnSpPr>
            <p:cNvPr id="13" name="Straight Connector 15">
              <a:extLst>
                <a:ext uri="{FF2B5EF4-FFF2-40B4-BE49-F238E27FC236}">
                  <a16:creationId xmlns:a16="http://schemas.microsoft.com/office/drawing/2014/main" id="{F02951C3-9DBC-4B82-9BB7-69BA5DAA6302}"/>
                </a:ext>
              </a:extLst>
            </p:cNvPr>
            <p:cNvCxnSpPr/>
            <p:nvPr/>
          </p:nvCxnSpPr>
          <p:spPr>
            <a:xfrm>
              <a:off x="1558925" y="9567746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6">
              <a:extLst>
                <a:ext uri="{FF2B5EF4-FFF2-40B4-BE49-F238E27FC236}">
                  <a16:creationId xmlns:a16="http://schemas.microsoft.com/office/drawing/2014/main" id="{1BD4A5A7-FF45-4B1A-8202-0C3CE0AA2879}"/>
                </a:ext>
              </a:extLst>
            </p:cNvPr>
            <p:cNvCxnSpPr/>
            <p:nvPr/>
          </p:nvCxnSpPr>
          <p:spPr>
            <a:xfrm>
              <a:off x="1558925" y="4192858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31839" y="2710789"/>
            <a:ext cx="10728324" cy="830997"/>
          </a:xfrm>
        </p:spPr>
        <p:txBody>
          <a:bodyPr wrap="square" lIns="0" tIns="0" rIns="0" bIns="0" anchor="ctr">
            <a:spAutoFit/>
          </a:bodyPr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/>
              <a:t>Titelfolie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31839" y="3709040"/>
            <a:ext cx="10728324" cy="307777"/>
          </a:xfr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Untertitel</a:t>
            </a:r>
            <a:endParaRPr lang="de-DE" dirty="0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A0A29180-627F-4549-B520-E6568305CD9C}"/>
              </a:ext>
            </a:extLst>
          </p:cNvPr>
          <p:cNvSpPr/>
          <p:nvPr/>
        </p:nvSpPr>
        <p:spPr>
          <a:xfrm>
            <a:off x="12432704" y="18728"/>
            <a:ext cx="1620000" cy="646331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algn="l"/>
            <a:r>
              <a:rPr lang="en-GB" sz="1200" b="1" dirty="0" err="1">
                <a:solidFill>
                  <a:schemeClr val="bg1"/>
                </a:solidFill>
              </a:rPr>
              <a:t>Bild</a:t>
            </a:r>
            <a:r>
              <a:rPr lang="en-GB" sz="1200" b="1" dirty="0">
                <a:solidFill>
                  <a:schemeClr val="bg1"/>
                </a:solidFill>
              </a:rPr>
              <a:t> </a:t>
            </a:r>
            <a:r>
              <a:rPr lang="en-GB" sz="1200" b="1" dirty="0" err="1">
                <a:solidFill>
                  <a:schemeClr val="bg1"/>
                </a:solidFill>
              </a:rPr>
              <a:t>tauschen</a:t>
            </a:r>
            <a:r>
              <a:rPr lang="en-GB" sz="1200" b="0" dirty="0">
                <a:solidFill>
                  <a:schemeClr val="bg1"/>
                </a:solidFill>
              </a:rPr>
              <a:t>?</a:t>
            </a:r>
            <a:endParaRPr lang="en-GB" sz="1200" dirty="0">
              <a:solidFill>
                <a:schemeClr val="bg1"/>
              </a:solidFill>
            </a:endParaRPr>
          </a:p>
          <a:p>
            <a:pPr algn="l"/>
            <a:r>
              <a:rPr lang="en-GB" sz="1200" dirty="0">
                <a:solidFill>
                  <a:schemeClr val="bg1"/>
                </a:solidFill>
              </a:rPr>
              <a:t>&gt; </a:t>
            </a:r>
            <a:r>
              <a:rPr lang="en-GB" sz="1200" dirty="0" err="1">
                <a:solidFill>
                  <a:schemeClr val="bg1"/>
                </a:solidFill>
              </a:rPr>
              <a:t>Bitte</a:t>
            </a:r>
            <a:r>
              <a:rPr lang="en-GB" sz="1200" dirty="0">
                <a:solidFill>
                  <a:schemeClr val="bg1"/>
                </a:solidFill>
              </a:rPr>
              <a:t> </a:t>
            </a:r>
            <a:r>
              <a:rPr lang="en-GB" sz="1200" dirty="0" err="1">
                <a:solidFill>
                  <a:schemeClr val="bg1"/>
                </a:solidFill>
              </a:rPr>
              <a:t>melden</a:t>
            </a:r>
            <a:r>
              <a:rPr lang="en-GB" sz="1200" dirty="0">
                <a:solidFill>
                  <a:schemeClr val="bg1"/>
                </a:solidFill>
              </a:rPr>
              <a:t> </a:t>
            </a:r>
            <a:r>
              <a:rPr lang="en-GB" sz="1200" dirty="0" err="1">
                <a:solidFill>
                  <a:schemeClr val="bg1"/>
                </a:solidFill>
              </a:rPr>
              <a:t>Sie</a:t>
            </a:r>
            <a:r>
              <a:rPr lang="en-GB" sz="1200" dirty="0">
                <a:solidFill>
                  <a:schemeClr val="bg1"/>
                </a:solidFill>
              </a:rPr>
              <a:t> </a:t>
            </a:r>
            <a:r>
              <a:rPr lang="en-GB" sz="1200" dirty="0" err="1">
                <a:solidFill>
                  <a:schemeClr val="bg1"/>
                </a:solidFill>
              </a:rPr>
              <a:t>sich</a:t>
            </a:r>
            <a:r>
              <a:rPr lang="en-GB" sz="1200" dirty="0">
                <a:solidFill>
                  <a:schemeClr val="bg1"/>
                </a:solidFill>
              </a:rPr>
              <a:t> </a:t>
            </a:r>
            <a:r>
              <a:rPr lang="en-GB" sz="1200" dirty="0" err="1">
                <a:solidFill>
                  <a:schemeClr val="bg1"/>
                </a:solidFill>
              </a:rPr>
              <a:t>bei</a:t>
            </a:r>
            <a:r>
              <a:rPr lang="en-GB" sz="1200" dirty="0">
                <a:solidFill>
                  <a:schemeClr val="bg1"/>
                </a:solidFill>
              </a:rPr>
              <a:t> UK</a:t>
            </a:r>
          </a:p>
        </p:txBody>
      </p:sp>
      <p:pic>
        <p:nvPicPr>
          <p:cNvPr id="15" name="Picture 507" descr="\\LEG001\dat_a_uk\LEG-Darstellung\Logo\_LEG-Logo\_LEG Logo\_LEG_Englisch\LEG_Logo_4c_englisch.gif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5028" y="0"/>
            <a:ext cx="2072972" cy="1041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695647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trenner   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DCF6EDC-F177-4B01-8E9B-EAB815736A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822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DCF6EDC-F177-4B01-8E9B-EAB815736A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21B4BC97-DA97-47E5-A031-F4489CC16C8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6655ED5-16BC-4F25-8174-C699708F651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6F9468D2-00BA-4450-879A-EA800A1DCD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61133" y="2052537"/>
            <a:ext cx="7930867" cy="3013268"/>
          </a:xfrm>
          <a:gradFill flip="none" rotWithShape="0">
            <a:gsLst>
              <a:gs pos="0">
                <a:schemeClr val="accent6"/>
              </a:gs>
              <a:gs pos="100000">
                <a:schemeClr val="accent6">
                  <a:alpha val="70000"/>
                  <a:lumMod val="54000"/>
                </a:schemeClr>
              </a:gs>
            </a:gsLst>
            <a:lin ang="6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>
            <a:normAutofit/>
          </a:bodyPr>
          <a:lstStyle>
            <a:lvl1pPr marL="0" indent="0" algn="l">
              <a:buNone/>
              <a:defRPr lang="en-GB" sz="1800" dirty="0">
                <a:solidFill>
                  <a:schemeClr val="lt1"/>
                </a:solidFill>
              </a:defRPr>
            </a:lvl1pPr>
          </a:lstStyle>
          <a:p>
            <a:pPr marL="179388" lvl="0" indent="-179388" algn="ctr" defTabSz="457200"/>
            <a:r>
              <a:rPr lang="en-GB" dirty="0"/>
              <a:t> </a:t>
            </a:r>
          </a:p>
        </p:txBody>
      </p:sp>
      <p:sp>
        <p:nvSpPr>
          <p:cNvPr id="11" name="Bildplatzhalter 16"/>
          <p:cNvSpPr>
            <a:spLocks noGrp="1"/>
          </p:cNvSpPr>
          <p:nvPr>
            <p:ph type="pic" sz="quarter" idx="13" hasCustomPrompt="1"/>
          </p:nvPr>
        </p:nvSpPr>
        <p:spPr>
          <a:xfrm>
            <a:off x="7848566" y="4107882"/>
            <a:ext cx="756000" cy="360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015251" y="3060108"/>
            <a:ext cx="6422630" cy="677108"/>
          </a:xfrm>
        </p:spPr>
        <p:txBody>
          <a:bodyPr wrap="square" lIns="0" tIns="0" rIns="0" bIns="0" anchor="ctr">
            <a:sp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hema / Bereich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5251" y="3759743"/>
            <a:ext cx="6422630" cy="246221"/>
          </a:xfr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Untertitel</a:t>
            </a:r>
            <a:endParaRPr lang="de-DE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A0A29180-627F-4549-B520-E6568305CD9C}"/>
              </a:ext>
            </a:extLst>
          </p:cNvPr>
          <p:cNvSpPr/>
          <p:nvPr/>
        </p:nvSpPr>
        <p:spPr>
          <a:xfrm>
            <a:off x="12432704" y="18728"/>
            <a:ext cx="1620000" cy="341632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algn="l"/>
            <a:r>
              <a:rPr lang="de-DE" sz="1200" b="1" dirty="0"/>
              <a:t>Hintergrundbild</a:t>
            </a:r>
            <a:r>
              <a:rPr lang="de-DE" sz="1200" b="1" baseline="0" dirty="0"/>
              <a:t> einfügen</a:t>
            </a:r>
          </a:p>
          <a:p>
            <a:pPr algn="l"/>
            <a:endParaRPr lang="de-DE" sz="1200" b="1" baseline="0" dirty="0"/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dirty="0"/>
              <a:t>1. Auf Bild </a:t>
            </a:r>
            <a:r>
              <a:rPr lang="de-DE" sz="1200" b="1" i="1" dirty="0"/>
              <a:t>Rechtsklick </a:t>
            </a:r>
            <a:r>
              <a:rPr lang="de-DE" sz="1200" b="1" i="1" dirty="0">
                <a:sym typeface="Wingdings" panose="05000000000000000000" pitchFamily="2" charset="2"/>
              </a:rPr>
              <a:t></a:t>
            </a:r>
            <a:br>
              <a:rPr lang="de-DE" sz="1200" b="1" i="1" dirty="0">
                <a:sym typeface="Wingdings" panose="05000000000000000000" pitchFamily="2" charset="2"/>
              </a:rPr>
            </a:br>
            <a:r>
              <a:rPr lang="de-DE" sz="1200" b="1" i="0" dirty="0">
                <a:solidFill>
                  <a:srgbClr val="FF0000"/>
                </a:solidFill>
                <a:highlight>
                  <a:srgbClr val="F9F9F9"/>
                </a:highlight>
                <a:sym typeface="Wingdings" panose="05000000000000000000" pitchFamily="2" charset="2"/>
              </a:rPr>
              <a:t>In den Vordergrund </a:t>
            </a:r>
          </a:p>
          <a:p>
            <a:pPr algn="l"/>
            <a:endParaRPr lang="de-DE" sz="1200" b="1" dirty="0"/>
          </a:p>
          <a:p>
            <a:pPr algn="l"/>
            <a:r>
              <a:rPr lang="de-DE" sz="1200" b="1" dirty="0"/>
              <a:t>2.</a:t>
            </a:r>
            <a:r>
              <a:rPr lang="de-DE" sz="1200" b="0" baseline="0" dirty="0"/>
              <a:t> Gewünschtes Bild einfügen. </a:t>
            </a:r>
            <a:r>
              <a:rPr lang="de-DE" sz="1200" dirty="0"/>
              <a:t>Klicken sie dazu auf das Bild-Icon in der Mitte des Platzhalters.</a:t>
            </a:r>
          </a:p>
          <a:p>
            <a:pPr algn="l"/>
            <a:endParaRPr lang="de-DE" sz="1200" dirty="0"/>
          </a:p>
          <a:p>
            <a:pPr algn="l"/>
            <a:r>
              <a:rPr lang="de-DE" sz="1200" b="1" dirty="0"/>
              <a:t>3. </a:t>
            </a:r>
            <a:r>
              <a:rPr lang="de-DE" sz="1200" dirty="0"/>
              <a:t>Haben Sie das gewünschte Bild eingefügt</a:t>
            </a:r>
            <a:br>
              <a:rPr lang="de-DE" sz="1200" dirty="0"/>
            </a:br>
            <a:r>
              <a:rPr lang="de-DE" sz="1200" b="1" i="1" dirty="0"/>
              <a:t>Rechtsklick </a:t>
            </a:r>
            <a:r>
              <a:rPr lang="de-DE" sz="1200" b="1" i="1" dirty="0">
                <a:sym typeface="Wingdings" panose="05000000000000000000" pitchFamily="2" charset="2"/>
              </a:rPr>
              <a:t></a:t>
            </a:r>
            <a:br>
              <a:rPr lang="de-DE" sz="1200" b="1" i="1" dirty="0">
                <a:sym typeface="Wingdings" panose="05000000000000000000" pitchFamily="2" charset="2"/>
              </a:rPr>
            </a:br>
            <a:r>
              <a:rPr lang="de-DE" sz="1200" b="1" i="0" dirty="0">
                <a:solidFill>
                  <a:srgbClr val="FF0000"/>
                </a:solidFill>
                <a:highlight>
                  <a:srgbClr val="F9F9F9"/>
                </a:highlight>
                <a:sym typeface="Wingdings" panose="05000000000000000000" pitchFamily="2" charset="2"/>
              </a:rPr>
              <a:t>In den Hintergrund </a:t>
            </a:r>
          </a:p>
        </p:txBody>
      </p:sp>
    </p:spTree>
    <p:extLst>
      <p:ext uri="{BB962C8B-B14F-4D97-AF65-F5344CB8AC3E}">
        <p14:creationId xmlns:p14="http://schemas.microsoft.com/office/powerpoint/2010/main" val="9152071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trenner   recht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DCF6EDC-F177-4B01-8E9B-EAB815736A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267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DCF6EDC-F177-4B01-8E9B-EAB815736A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F86BE0DF-7D71-4374-A05A-3A5F116DC9F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6655ED5-16BC-4F25-8174-C699708F651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06034BA3-4E23-4342-B0DE-CA9287FCE2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61133" y="2052537"/>
            <a:ext cx="7930867" cy="3013268"/>
          </a:xfrm>
          <a:gradFill flip="none" rotWithShape="0">
            <a:gsLst>
              <a:gs pos="0">
                <a:schemeClr val="accent6"/>
              </a:gs>
              <a:gs pos="100000">
                <a:schemeClr val="accent6">
                  <a:alpha val="70000"/>
                  <a:lumMod val="54000"/>
                </a:schemeClr>
              </a:gs>
            </a:gsLst>
            <a:lin ang="6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>
            <a:normAutofit/>
          </a:bodyPr>
          <a:lstStyle>
            <a:lvl1pPr marL="0" indent="0" algn="l">
              <a:buNone/>
              <a:defRPr lang="en-GB" sz="1800" dirty="0">
                <a:solidFill>
                  <a:schemeClr val="lt1"/>
                </a:solidFill>
              </a:defRPr>
            </a:lvl1pPr>
          </a:lstStyle>
          <a:p>
            <a:pPr marL="179388" lvl="0" indent="-179388" algn="ctr" defTabSz="457200"/>
            <a:r>
              <a:rPr lang="en-GB" dirty="0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015251" y="3220617"/>
            <a:ext cx="6422630" cy="677108"/>
          </a:xfrm>
        </p:spPr>
        <p:txBody>
          <a:bodyPr wrap="square" lIns="0" tIns="0" rIns="0" bIns="0" anchor="b">
            <a:sp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hema / Bereich</a:t>
            </a:r>
          </a:p>
        </p:txBody>
      </p:sp>
      <p:sp>
        <p:nvSpPr>
          <p:cNvPr id="17" name="Bildplatzhalter 16"/>
          <p:cNvSpPr>
            <a:spLocks noGrp="1"/>
          </p:cNvSpPr>
          <p:nvPr>
            <p:ph type="pic" sz="quarter" idx="13" hasCustomPrompt="1"/>
          </p:nvPr>
        </p:nvSpPr>
        <p:spPr>
          <a:xfrm>
            <a:off x="7848566" y="4107882"/>
            <a:ext cx="756000" cy="360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0A29180-627F-4549-B520-E6568305CD9C}"/>
              </a:ext>
            </a:extLst>
          </p:cNvPr>
          <p:cNvSpPr/>
          <p:nvPr/>
        </p:nvSpPr>
        <p:spPr>
          <a:xfrm>
            <a:off x="12432704" y="18728"/>
            <a:ext cx="1620000" cy="341632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algn="l"/>
            <a:r>
              <a:rPr lang="de-DE" sz="1200" b="1" dirty="0"/>
              <a:t>Hintergrundbild</a:t>
            </a:r>
            <a:r>
              <a:rPr lang="de-DE" sz="1200" b="1" baseline="0" dirty="0"/>
              <a:t> einfügen</a:t>
            </a:r>
          </a:p>
          <a:p>
            <a:pPr algn="l"/>
            <a:endParaRPr lang="de-DE" sz="1200" b="1" baseline="0" dirty="0"/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dirty="0"/>
              <a:t>1. Auf Bild </a:t>
            </a:r>
            <a:r>
              <a:rPr lang="de-DE" sz="1200" b="1" i="1" dirty="0"/>
              <a:t>Rechtsklick </a:t>
            </a:r>
            <a:r>
              <a:rPr lang="de-DE" sz="1200" b="1" i="1" dirty="0">
                <a:sym typeface="Wingdings" panose="05000000000000000000" pitchFamily="2" charset="2"/>
              </a:rPr>
              <a:t></a:t>
            </a:r>
            <a:br>
              <a:rPr lang="de-DE" sz="1200" b="1" i="1" dirty="0">
                <a:sym typeface="Wingdings" panose="05000000000000000000" pitchFamily="2" charset="2"/>
              </a:rPr>
            </a:br>
            <a:r>
              <a:rPr lang="de-DE" sz="1200" b="1" i="0" dirty="0">
                <a:solidFill>
                  <a:srgbClr val="FF0000"/>
                </a:solidFill>
                <a:highlight>
                  <a:srgbClr val="F9F9F9"/>
                </a:highlight>
                <a:sym typeface="Wingdings" panose="05000000000000000000" pitchFamily="2" charset="2"/>
              </a:rPr>
              <a:t>In den Vordergrund </a:t>
            </a:r>
          </a:p>
          <a:p>
            <a:pPr algn="l"/>
            <a:endParaRPr lang="de-DE" sz="1200" b="1" dirty="0"/>
          </a:p>
          <a:p>
            <a:pPr algn="l"/>
            <a:r>
              <a:rPr lang="de-DE" sz="1200" b="1" dirty="0"/>
              <a:t>2.</a:t>
            </a:r>
            <a:r>
              <a:rPr lang="de-DE" sz="1200" b="0" baseline="0" dirty="0"/>
              <a:t> Gewünschtes Bild einfügen. </a:t>
            </a:r>
            <a:r>
              <a:rPr lang="de-DE" sz="1200" dirty="0"/>
              <a:t>Klicken sie dazu auf das Bild-Icon in der Mitte des Platzhalters.</a:t>
            </a:r>
          </a:p>
          <a:p>
            <a:pPr algn="l"/>
            <a:endParaRPr lang="de-DE" sz="1200" dirty="0"/>
          </a:p>
          <a:p>
            <a:pPr algn="l"/>
            <a:r>
              <a:rPr lang="de-DE" sz="1200" b="1" dirty="0"/>
              <a:t>3. </a:t>
            </a:r>
            <a:r>
              <a:rPr lang="de-DE" sz="1200" dirty="0"/>
              <a:t>Haben Sie das gewünschte Bild eingefügt</a:t>
            </a:r>
            <a:br>
              <a:rPr lang="de-DE" sz="1200" dirty="0"/>
            </a:br>
            <a:r>
              <a:rPr lang="de-DE" sz="1200" b="1" i="1" dirty="0"/>
              <a:t>Rechtsklick </a:t>
            </a:r>
            <a:r>
              <a:rPr lang="de-DE" sz="1200" b="1" i="1" dirty="0">
                <a:sym typeface="Wingdings" panose="05000000000000000000" pitchFamily="2" charset="2"/>
              </a:rPr>
              <a:t></a:t>
            </a:r>
            <a:br>
              <a:rPr lang="de-DE" sz="1200" b="1" i="1" dirty="0">
                <a:sym typeface="Wingdings" panose="05000000000000000000" pitchFamily="2" charset="2"/>
              </a:rPr>
            </a:br>
            <a:r>
              <a:rPr lang="de-DE" sz="1200" b="1" i="0" dirty="0">
                <a:solidFill>
                  <a:srgbClr val="FF0000"/>
                </a:solidFill>
                <a:highlight>
                  <a:srgbClr val="F9F9F9"/>
                </a:highlight>
                <a:sym typeface="Wingdings" panose="05000000000000000000" pitchFamily="2" charset="2"/>
              </a:rPr>
              <a:t>In den Hintergrund </a:t>
            </a:r>
          </a:p>
        </p:txBody>
      </p:sp>
    </p:spTree>
    <p:extLst>
      <p:ext uri="{BB962C8B-B14F-4D97-AF65-F5344CB8AC3E}">
        <p14:creationId xmlns:p14="http://schemas.microsoft.com/office/powerpoint/2010/main" val="37368351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C4227188-4C72-4E0F-AB71-E540A327673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0"/>
            <a:ext cx="79416" cy="793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838" y="212573"/>
            <a:ext cx="10728325" cy="523220"/>
          </a:xfrm>
        </p:spPr>
        <p:txBody>
          <a:bodyPr lIns="0" tIns="0" rIns="0" bIns="0">
            <a:spAutoFit/>
          </a:bodyPr>
          <a:lstStyle>
            <a:lvl1pPr algn="ctr">
              <a:lnSpc>
                <a:spcPct val="100000"/>
              </a:lnSpc>
              <a:spcBef>
                <a:spcPts val="300"/>
              </a:spcBef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838" y="1773238"/>
            <a:ext cx="10728325" cy="4356100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13.02.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9782719" cy="153888"/>
          </a:xfrm>
        </p:spPr>
        <p:txBody>
          <a:bodyPr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6889" y="6568973"/>
            <a:ext cx="253274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C31F6BF0-11B6-44E7-8396-A4C4CF06E29F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0F479CA-E3C8-4ACE-99D5-F1F7391799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1838" y="773460"/>
            <a:ext cx="10728325" cy="246221"/>
          </a:xfrm>
        </p:spPr>
        <p:txBody>
          <a:bodyPr lIns="0" tIns="0" rIns="0" bIns="0">
            <a:sp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5453532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1117">
          <p15:clr>
            <a:srgbClr val="FBAE40"/>
          </p15:clr>
        </p15:guide>
        <p15:guide id="4" orient="horz" pos="3861">
          <p15:clr>
            <a:srgbClr val="FBAE40"/>
          </p15:clr>
        </p15:guide>
        <p15:guide id="5" pos="461">
          <p15:clr>
            <a:srgbClr val="FBAE40"/>
          </p15:clr>
        </p15:guide>
        <p15:guide id="6" pos="721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4804373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838" y="552420"/>
            <a:ext cx="10728325" cy="523220"/>
          </a:xfrm>
        </p:spPr>
        <p:txBody>
          <a:bodyPr lIns="0" tIns="0" rIns="0" bIns="0" anchor="b">
            <a:spAutoFit/>
          </a:bodyPr>
          <a:lstStyle>
            <a:lvl1pPr algn="ctr">
              <a:lnSpc>
                <a:spcPct val="100000"/>
              </a:lnSpc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838" y="1773238"/>
            <a:ext cx="10728325" cy="4356100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13.02.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9782719" cy="153888"/>
          </a:xfrm>
        </p:spPr>
        <p:txBody>
          <a:bodyPr lIns="0" tIns="0" rIns="0" bIns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C31F6BF0-11B6-44E7-8396-A4C4CF06E29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0486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19">
          <p15:clr>
            <a:srgbClr val="FBAE40"/>
          </p15:clr>
        </p15:guide>
        <p15:guide id="2" pos="461">
          <p15:clr>
            <a:srgbClr val="FBAE40"/>
          </p15:clr>
        </p15:guide>
        <p15:guide id="3" orient="horz" pos="1117">
          <p15:clr>
            <a:srgbClr val="FBAE40"/>
          </p15:clr>
        </p15:guide>
        <p15:guide id="4" orient="horz" pos="386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7873848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838" y="212573"/>
            <a:ext cx="10728325" cy="523220"/>
          </a:xfrm>
        </p:spPr>
        <p:txBody>
          <a:bodyPr lIns="0" tIns="0" rIns="0" bIns="0">
            <a:spAutoFit/>
          </a:bodyPr>
          <a:lstStyle>
            <a:lvl1pPr algn="ctr">
              <a:lnSpc>
                <a:spcPct val="100000"/>
              </a:lnSpc>
              <a:spcBef>
                <a:spcPts val="300"/>
              </a:spcBef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839" y="1773238"/>
            <a:ext cx="3887786" cy="4356100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13.02.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9782719" cy="153888"/>
          </a:xfrm>
        </p:spPr>
        <p:txBody>
          <a:bodyPr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C31F6BF0-11B6-44E7-8396-A4C4CF06E29F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0F479CA-E3C8-4ACE-99D5-F1F7391799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1838" y="773460"/>
            <a:ext cx="10728325" cy="246221"/>
          </a:xfrm>
        </p:spPr>
        <p:txBody>
          <a:bodyPr lIns="0" tIns="0" rIns="0" bIns="0">
            <a:sp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B43628-C72B-4E89-965D-086F8357BF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375276" y="1773238"/>
            <a:ext cx="6816724" cy="43561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6430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86">
          <p15:clr>
            <a:srgbClr val="FBAE40"/>
          </p15:clr>
        </p15:guide>
        <p15:guide id="2" pos="2910">
          <p15:clr>
            <a:srgbClr val="FBAE40"/>
          </p15:clr>
        </p15:guide>
        <p15:guide id="3" orient="horz" pos="1117">
          <p15:clr>
            <a:srgbClr val="FBAE40"/>
          </p15:clr>
        </p15:guide>
        <p15:guide id="4" orient="horz" pos="3861">
          <p15:clr>
            <a:srgbClr val="FBAE40"/>
          </p15:clr>
        </p15:guide>
        <p15:guide id="5" pos="461">
          <p15:clr>
            <a:srgbClr val="FBAE40"/>
          </p15:clr>
        </p15:guide>
        <p15:guide id="6" pos="721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6431098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838" y="212573"/>
            <a:ext cx="10728325" cy="523220"/>
          </a:xfrm>
        </p:spPr>
        <p:txBody>
          <a:bodyPr lIns="0" tIns="0" rIns="0" bIns="0">
            <a:spAutoFit/>
          </a:bodyPr>
          <a:lstStyle>
            <a:lvl1pPr algn="ctr">
              <a:lnSpc>
                <a:spcPct val="100000"/>
              </a:lnSpc>
              <a:spcBef>
                <a:spcPts val="300"/>
              </a:spcBef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13.02.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9782719" cy="153888"/>
          </a:xfrm>
        </p:spPr>
        <p:txBody>
          <a:bodyPr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C31F6BF0-11B6-44E7-8396-A4C4CF06E29F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0F479CA-E3C8-4ACE-99D5-F1F7391799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1838" y="773460"/>
            <a:ext cx="10728325" cy="246221"/>
          </a:xfrm>
        </p:spPr>
        <p:txBody>
          <a:bodyPr lIns="0" tIns="0" rIns="0" bIns="0">
            <a:sp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B43628-C72B-4E89-965D-086F8357BF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773238"/>
            <a:ext cx="6816724" cy="43561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572377" y="1773238"/>
            <a:ext cx="3887786" cy="4356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534913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64">
          <p15:clr>
            <a:srgbClr val="CCCCCC"/>
          </p15:clr>
        </p15:guide>
        <p15:guide id="2" pos="7216">
          <p15:clr>
            <a:srgbClr val="CCCCCC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ld links_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019969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B43628-C72B-4E89-965D-086F8357BF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5364162" cy="68580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0" y="986945"/>
            <a:ext cx="5364163" cy="1046440"/>
          </a:xfrm>
        </p:spPr>
        <p:txBody>
          <a:bodyPr lIns="0" tIns="0" rIns="0" bIns="0">
            <a:spAutoFit/>
          </a:bodyPr>
          <a:lstStyle>
            <a:lvl1pPr algn="l">
              <a:lnSpc>
                <a:spcPct val="100000"/>
              </a:lnSpc>
              <a:spcBef>
                <a:spcPts val="300"/>
              </a:spcBef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0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13.02.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783386" y="6568973"/>
            <a:ext cx="4209157" cy="153888"/>
          </a:xfrm>
        </p:spPr>
        <p:txBody>
          <a:bodyPr wrap="square"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C31F6BF0-11B6-44E7-8396-A4C4CF06E29F}" type="slidenum">
              <a:rPr lang="de-DE" smtClean="0"/>
              <a:t>‹Nr.›</a:t>
            </a:fld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0" y="2492375"/>
            <a:ext cx="5364163" cy="363696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93869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64">
          <p15:clr>
            <a:srgbClr val="CCCCCC"/>
          </p15:clr>
        </p15:guide>
        <p15:guide id="2" pos="7216">
          <p15:clr>
            <a:srgbClr val="CCCCCC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ld rechts_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6552345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B43628-C72B-4E89-965D-086F8357BF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827837" y="0"/>
            <a:ext cx="5364163" cy="68580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838" y="986945"/>
            <a:ext cx="5364163" cy="1046440"/>
          </a:xfrm>
        </p:spPr>
        <p:txBody>
          <a:bodyPr lIns="0" tIns="0" rIns="0" bIns="0">
            <a:spAutoFit/>
          </a:bodyPr>
          <a:lstStyle>
            <a:lvl1pPr algn="l">
              <a:lnSpc>
                <a:spcPct val="100000"/>
              </a:lnSpc>
              <a:spcBef>
                <a:spcPts val="300"/>
              </a:spcBef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13.02.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5105943" cy="153888"/>
          </a:xfrm>
        </p:spPr>
        <p:txBody>
          <a:bodyPr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C31F6BF0-11B6-44E7-8396-A4C4CF06E29F}" type="slidenum">
              <a:rPr lang="de-DE" smtClean="0"/>
              <a:t>‹Nr.›</a:t>
            </a:fld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838" y="2492375"/>
            <a:ext cx="5364163" cy="363696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149747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64">
          <p15:clr>
            <a:srgbClr val="CCCCCC"/>
          </p15:clr>
        </p15:guide>
        <p15:guide id="2" pos="7216">
          <p15:clr>
            <a:srgbClr val="CCCCCC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ld_blaue 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9685106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B43628-C72B-4E89-965D-086F8357BF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5364162" cy="68580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0" y="986945"/>
            <a:ext cx="5364163" cy="1046440"/>
          </a:xfrm>
        </p:spPr>
        <p:txBody>
          <a:bodyPr lIns="0" tIns="0" rIns="0" bIns="0">
            <a:spAutoFit/>
          </a:bodyPr>
          <a:lstStyle>
            <a:lvl1pPr algn="l">
              <a:lnSpc>
                <a:spcPct val="100000"/>
              </a:lnSpc>
              <a:spcBef>
                <a:spcPts val="300"/>
              </a:spcBef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C31F6BF0-11B6-44E7-8396-A4C4CF06E29F}" type="slidenum">
              <a:rPr lang="de-DE" smtClean="0"/>
              <a:t>‹Nr.›</a:t>
            </a:fld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0" y="2492375"/>
            <a:ext cx="5364163" cy="363696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06034BA3-4E23-4342-B0DE-CA9287FCE22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82083" y="0"/>
            <a:ext cx="2682081" cy="6858000"/>
          </a:xfrm>
          <a:gradFill flip="none" rotWithShape="0">
            <a:gsLst>
              <a:gs pos="0">
                <a:schemeClr val="accent6"/>
              </a:gs>
              <a:gs pos="100000">
                <a:schemeClr val="accent6">
                  <a:alpha val="70000"/>
                  <a:lumMod val="54000"/>
                </a:schemeClr>
              </a:gs>
            </a:gsLst>
            <a:lin ang="6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>
            <a:normAutofit/>
          </a:bodyPr>
          <a:lstStyle>
            <a:lvl1pPr marL="0" indent="0" algn="l">
              <a:buNone/>
              <a:defRPr lang="en-GB" sz="1800" dirty="0">
                <a:solidFill>
                  <a:schemeClr val="lt1"/>
                </a:solidFill>
              </a:defRPr>
            </a:lvl1pPr>
          </a:lstStyle>
          <a:p>
            <a:pPr marL="179388" lvl="0" indent="-179388" algn="ctr" defTabSz="457200"/>
            <a:r>
              <a:rPr lang="en-GB" dirty="0"/>
              <a:t> 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2973732" y="1052736"/>
            <a:ext cx="2098782" cy="461665"/>
          </a:xfrm>
        </p:spPr>
        <p:txBody>
          <a:bodyPr vert="horz" wrap="square" lIns="0" tIns="0" rIns="0" bIns="0" rtlCol="0" anchor="t">
            <a:spAutoFit/>
          </a:bodyPr>
          <a:lstStyle>
            <a:lvl1pPr marL="0" indent="0">
              <a:buNone/>
              <a:defRPr lang="de-DE" sz="3000" b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de-DE" sz="1800" smtClean="0"/>
            </a:lvl2pPr>
            <a:lvl3pPr>
              <a:defRPr lang="de-DE" sz="1800" smtClean="0"/>
            </a:lvl3pPr>
            <a:lvl4pPr>
              <a:defRPr lang="de-DE" sz="1800" smtClean="0"/>
            </a:lvl4pPr>
            <a:lvl5pPr>
              <a:defRPr lang="de-DE" sz="1800"/>
            </a:lvl5pPr>
          </a:lstStyle>
          <a:p>
            <a:pPr marL="277812" lvl="0" indent="-457200">
              <a:spcBef>
                <a:spcPct val="0"/>
              </a:spcBef>
            </a:pPr>
            <a:r>
              <a:rPr lang="de-DE" dirty="0"/>
              <a:t>Text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A0A29180-627F-4549-B520-E6568305CD9C}"/>
              </a:ext>
            </a:extLst>
          </p:cNvPr>
          <p:cNvSpPr/>
          <p:nvPr/>
        </p:nvSpPr>
        <p:spPr>
          <a:xfrm>
            <a:off x="12432704" y="18728"/>
            <a:ext cx="1620000" cy="249299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algn="l"/>
            <a:r>
              <a:rPr lang="de-DE" sz="1200" b="1" dirty="0"/>
              <a:t>Bild einfügen</a:t>
            </a:r>
            <a:endParaRPr lang="de-DE" sz="1200" b="1" baseline="0" dirty="0"/>
          </a:p>
          <a:p>
            <a:pPr algn="l"/>
            <a:endParaRPr lang="de-DE" sz="1200" b="1" baseline="0" dirty="0"/>
          </a:p>
          <a:p>
            <a:pPr algn="l"/>
            <a:r>
              <a:rPr lang="de-DE" sz="1200" b="1" dirty="0"/>
              <a:t>1.</a:t>
            </a:r>
            <a:r>
              <a:rPr lang="de-DE" sz="1200" b="0" baseline="0" dirty="0"/>
              <a:t> Gewünschtes Bild einfügen. </a:t>
            </a:r>
            <a:r>
              <a:rPr lang="de-DE" sz="1200" dirty="0"/>
              <a:t>Klicken sie dazu auf das Bild-Icon in der Mitte des Platzhalters.</a:t>
            </a:r>
          </a:p>
          <a:p>
            <a:pPr algn="l"/>
            <a:endParaRPr lang="de-DE" sz="1200" dirty="0"/>
          </a:p>
          <a:p>
            <a:pPr algn="l"/>
            <a:r>
              <a:rPr lang="de-DE" sz="1200" b="1" dirty="0"/>
              <a:t>2. </a:t>
            </a:r>
            <a:r>
              <a:rPr lang="de-DE" sz="1200" dirty="0"/>
              <a:t>Haben Sie das gewünschte Bild eingefügt</a:t>
            </a:r>
            <a:br>
              <a:rPr lang="de-DE" sz="1200" dirty="0"/>
            </a:br>
            <a:r>
              <a:rPr lang="de-DE" sz="1200" b="1" i="1" dirty="0"/>
              <a:t>Rechtsklick </a:t>
            </a:r>
            <a:r>
              <a:rPr lang="de-DE" sz="1200" b="1" i="1" dirty="0">
                <a:sym typeface="Wingdings" panose="05000000000000000000" pitchFamily="2" charset="2"/>
              </a:rPr>
              <a:t></a:t>
            </a:r>
            <a:br>
              <a:rPr lang="de-DE" sz="1200" b="1" i="1" dirty="0">
                <a:sym typeface="Wingdings" panose="05000000000000000000" pitchFamily="2" charset="2"/>
              </a:rPr>
            </a:br>
            <a:r>
              <a:rPr lang="de-DE" sz="1200" b="1" i="0" dirty="0">
                <a:solidFill>
                  <a:srgbClr val="FF0000"/>
                </a:solidFill>
                <a:highlight>
                  <a:srgbClr val="F9F9F9"/>
                </a:highlight>
                <a:sym typeface="Wingdings" panose="05000000000000000000" pitchFamily="2" charset="2"/>
              </a:rPr>
              <a:t>In den Hintergrund </a:t>
            </a: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0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13.02.2025</a:t>
            </a:r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783386" y="6568973"/>
            <a:ext cx="4209157" cy="153888"/>
          </a:xfrm>
        </p:spPr>
        <p:txBody>
          <a:bodyPr wrap="square"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482328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64">
          <p15:clr>
            <a:srgbClr val="CCCCCC"/>
          </p15:clr>
        </p15:guide>
        <p15:guide id="2" pos="7216">
          <p15:clr>
            <a:srgbClr val="CCCCCC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_blaue Text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3273193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CA891489-A975-4995-9837-165DB51E0782}"/>
              </a:ext>
            </a:extLst>
          </p:cNvPr>
          <p:cNvSpPr>
            <a:spLocks/>
          </p:cNvSpPr>
          <p:nvPr/>
        </p:nvSpPr>
        <p:spPr>
          <a:xfrm>
            <a:off x="6276001" y="1773238"/>
            <a:ext cx="5915999" cy="43561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838" y="212573"/>
            <a:ext cx="10728325" cy="523220"/>
          </a:xfrm>
        </p:spPr>
        <p:txBody>
          <a:bodyPr lIns="0" tIns="0" rIns="0" bIns="0">
            <a:spAutoFit/>
          </a:bodyPr>
          <a:lstStyle>
            <a:lvl1pPr algn="ctr">
              <a:lnSpc>
                <a:spcPct val="100000"/>
              </a:lnSpc>
              <a:spcBef>
                <a:spcPts val="300"/>
              </a:spcBef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13.02.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9782719" cy="153888"/>
          </a:xfrm>
        </p:spPr>
        <p:txBody>
          <a:bodyPr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C31F6BF0-11B6-44E7-8396-A4C4CF06E29F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0F479CA-E3C8-4ACE-99D5-F1F7391799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1838" y="773460"/>
            <a:ext cx="10728325" cy="246221"/>
          </a:xfrm>
        </p:spPr>
        <p:txBody>
          <a:bodyPr lIns="0" tIns="0" rIns="0" bIns="0">
            <a:sp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B43628-C72B-4E89-965D-086F8357BF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1773238"/>
            <a:ext cx="5915999" cy="43561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46715" y="2057126"/>
            <a:ext cx="4913447" cy="3788324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194020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orient="horz" pos="1117">
          <p15:clr>
            <a:srgbClr val="FBAE40"/>
          </p15:clr>
        </p15:guide>
        <p15:guide id="4" orient="horz" pos="3861">
          <p15:clr>
            <a:srgbClr val="FBAE40"/>
          </p15:clr>
        </p15:guide>
        <p15:guide id="5" pos="461">
          <p15:clr>
            <a:srgbClr val="FBAE40"/>
          </p15:clr>
        </p15:guide>
        <p15:guide id="6" pos="721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_Bild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DCF6EDC-F177-4B01-8E9B-EAB815736A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697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DCF6EDC-F177-4B01-8E9B-EAB815736A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9" name="Rectangle 9">
            <a:extLst>
              <a:ext uri="{FF2B5EF4-FFF2-40B4-BE49-F238E27FC236}">
                <a16:creationId xmlns:a16="http://schemas.microsoft.com/office/drawing/2014/main" id="{3B4F93D6-E492-4591-9B35-3D96671D505F}"/>
              </a:ext>
            </a:extLst>
          </p:cNvPr>
          <p:cNvSpPr>
            <a:spLocks/>
          </p:cNvSpPr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0">
            <a:gsLst>
              <a:gs pos="0">
                <a:schemeClr val="accent6"/>
              </a:gs>
              <a:gs pos="100000">
                <a:schemeClr val="accent6">
                  <a:alpha val="70000"/>
                  <a:lumMod val="54000"/>
                </a:schemeClr>
              </a:gs>
            </a:gsLst>
            <a:lin ang="6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pSp>
        <p:nvGrpSpPr>
          <p:cNvPr id="11" name="Group 13">
            <a:extLst>
              <a:ext uri="{FF2B5EF4-FFF2-40B4-BE49-F238E27FC236}">
                <a16:creationId xmlns:a16="http://schemas.microsoft.com/office/drawing/2014/main" id="{41E6A50A-2569-49B6-A1C6-3DBFCB0FC74E}"/>
              </a:ext>
            </a:extLst>
          </p:cNvPr>
          <p:cNvGrpSpPr>
            <a:grpSpLocks/>
          </p:cNvGrpSpPr>
          <p:nvPr/>
        </p:nvGrpSpPr>
        <p:grpSpPr>
          <a:xfrm>
            <a:off x="3806758" y="2110902"/>
            <a:ext cx="4578486" cy="2636198"/>
            <a:chOff x="1558925" y="4192858"/>
            <a:chExt cx="9235455" cy="5374888"/>
          </a:xfrm>
        </p:grpSpPr>
        <p:cxnSp>
          <p:nvCxnSpPr>
            <p:cNvPr id="12" name="Straight Connector 15">
              <a:extLst>
                <a:ext uri="{FF2B5EF4-FFF2-40B4-BE49-F238E27FC236}">
                  <a16:creationId xmlns:a16="http://schemas.microsoft.com/office/drawing/2014/main" id="{8F8B5879-3090-42F7-B038-05342ECFA3F6}"/>
                </a:ext>
              </a:extLst>
            </p:cNvPr>
            <p:cNvCxnSpPr/>
            <p:nvPr/>
          </p:nvCxnSpPr>
          <p:spPr>
            <a:xfrm>
              <a:off x="1558925" y="9567746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6">
              <a:extLst>
                <a:ext uri="{FF2B5EF4-FFF2-40B4-BE49-F238E27FC236}">
                  <a16:creationId xmlns:a16="http://schemas.microsoft.com/office/drawing/2014/main" id="{CBC67250-CF7B-4601-8223-0CFEA938740F}"/>
                </a:ext>
              </a:extLst>
            </p:cNvPr>
            <p:cNvCxnSpPr/>
            <p:nvPr/>
          </p:nvCxnSpPr>
          <p:spPr>
            <a:xfrm>
              <a:off x="1558925" y="4192858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31839" y="2700560"/>
            <a:ext cx="10728324" cy="1495794"/>
          </a:xfrm>
        </p:spPr>
        <p:txBody>
          <a:bodyPr wrap="square" lIns="0" tIns="0" rIns="0" bIns="0" anchor="ctr">
            <a:noAutofit/>
          </a:bodyPr>
          <a:lstStyle>
            <a:lvl1pPr algn="ctr">
              <a:lnSpc>
                <a:spcPct val="10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folie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A0A29180-627F-4549-B520-E6568305CD9C}"/>
              </a:ext>
            </a:extLst>
          </p:cNvPr>
          <p:cNvSpPr/>
          <p:nvPr/>
        </p:nvSpPr>
        <p:spPr>
          <a:xfrm>
            <a:off x="12432704" y="18728"/>
            <a:ext cx="1620000" cy="646331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algn="l"/>
            <a:r>
              <a:rPr lang="en-GB" sz="1200" b="1" dirty="0" err="1">
                <a:solidFill>
                  <a:schemeClr val="bg1"/>
                </a:solidFill>
              </a:rPr>
              <a:t>Bild</a:t>
            </a:r>
            <a:r>
              <a:rPr lang="en-GB" sz="1200" b="1" dirty="0">
                <a:solidFill>
                  <a:schemeClr val="bg1"/>
                </a:solidFill>
              </a:rPr>
              <a:t> </a:t>
            </a:r>
            <a:r>
              <a:rPr lang="en-GB" sz="1200" b="1" dirty="0" err="1">
                <a:solidFill>
                  <a:schemeClr val="bg1"/>
                </a:solidFill>
              </a:rPr>
              <a:t>tauschen</a:t>
            </a:r>
            <a:r>
              <a:rPr lang="en-GB" sz="1200" b="0" dirty="0">
                <a:solidFill>
                  <a:schemeClr val="bg1"/>
                </a:solidFill>
              </a:rPr>
              <a:t>?</a:t>
            </a:r>
            <a:endParaRPr lang="en-GB" sz="1200" dirty="0">
              <a:solidFill>
                <a:schemeClr val="bg1"/>
              </a:solidFill>
            </a:endParaRPr>
          </a:p>
          <a:p>
            <a:pPr algn="l"/>
            <a:r>
              <a:rPr lang="en-GB" sz="1200" dirty="0">
                <a:solidFill>
                  <a:schemeClr val="bg1"/>
                </a:solidFill>
              </a:rPr>
              <a:t>&gt; </a:t>
            </a:r>
            <a:r>
              <a:rPr lang="en-GB" sz="1200" dirty="0" err="1">
                <a:solidFill>
                  <a:schemeClr val="bg1"/>
                </a:solidFill>
              </a:rPr>
              <a:t>Bitte</a:t>
            </a:r>
            <a:r>
              <a:rPr lang="en-GB" sz="1200" dirty="0">
                <a:solidFill>
                  <a:schemeClr val="bg1"/>
                </a:solidFill>
              </a:rPr>
              <a:t> </a:t>
            </a:r>
            <a:r>
              <a:rPr lang="en-GB" sz="1200" dirty="0" err="1">
                <a:solidFill>
                  <a:schemeClr val="bg1"/>
                </a:solidFill>
              </a:rPr>
              <a:t>melden</a:t>
            </a:r>
            <a:r>
              <a:rPr lang="en-GB" sz="1200" dirty="0">
                <a:solidFill>
                  <a:schemeClr val="bg1"/>
                </a:solidFill>
              </a:rPr>
              <a:t> </a:t>
            </a:r>
            <a:r>
              <a:rPr lang="en-GB" sz="1200" dirty="0" err="1">
                <a:solidFill>
                  <a:schemeClr val="bg1"/>
                </a:solidFill>
              </a:rPr>
              <a:t>Sie</a:t>
            </a:r>
            <a:r>
              <a:rPr lang="en-GB" sz="1200" dirty="0">
                <a:solidFill>
                  <a:schemeClr val="bg1"/>
                </a:solidFill>
              </a:rPr>
              <a:t> </a:t>
            </a:r>
            <a:r>
              <a:rPr lang="en-GB" sz="1200" dirty="0" err="1">
                <a:solidFill>
                  <a:schemeClr val="bg1"/>
                </a:solidFill>
              </a:rPr>
              <a:t>sich</a:t>
            </a:r>
            <a:r>
              <a:rPr lang="en-GB" sz="1200" dirty="0">
                <a:solidFill>
                  <a:schemeClr val="bg1"/>
                </a:solidFill>
              </a:rPr>
              <a:t> </a:t>
            </a:r>
            <a:r>
              <a:rPr lang="en-GB" sz="1200" dirty="0" err="1">
                <a:solidFill>
                  <a:schemeClr val="bg1"/>
                </a:solidFill>
              </a:rPr>
              <a:t>bei</a:t>
            </a:r>
            <a:r>
              <a:rPr lang="en-GB" sz="1200" dirty="0">
                <a:solidFill>
                  <a:schemeClr val="bg1"/>
                </a:solidFill>
              </a:rPr>
              <a:t> UK</a:t>
            </a:r>
          </a:p>
        </p:txBody>
      </p:sp>
      <p:pic>
        <p:nvPicPr>
          <p:cNvPr id="14" name="Picture 507" descr="\\LEG001\dat_a_uk\LEG-Darstellung\Logo\_LEG-Logo\_LEG Logo\_LEG_Englisch\LEG_Logo_4c_englisch.gif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5028" y="0"/>
            <a:ext cx="2072972" cy="1041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252397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ld_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6381967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B43628-C72B-4E89-965D-086F8357BF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3093396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838" y="3824288"/>
            <a:ext cx="3567787" cy="1046440"/>
          </a:xfrm>
        </p:spPr>
        <p:txBody>
          <a:bodyPr wrap="square" lIns="0" tIns="0" rIns="0" bIns="0" anchor="t">
            <a:spAutoFit/>
          </a:bodyPr>
          <a:lstStyle>
            <a:lvl1pPr algn="l">
              <a:lnSpc>
                <a:spcPct val="100000"/>
              </a:lnSpc>
              <a:spcBef>
                <a:spcPts val="300"/>
              </a:spcBef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/>
              <a:t>13.02.2025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5105943" cy="153888"/>
          </a:xfrm>
        </p:spPr>
        <p:txBody>
          <a:bodyPr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C31F6BF0-11B6-44E7-8396-A4C4CF06E29F}" type="slidenum">
              <a:rPr lang="de-DE" smtClean="0"/>
              <a:t>‹Nr.›</a:t>
            </a:fld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7938" y="3824288"/>
            <a:ext cx="6372225" cy="2305050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094196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61">
          <p15:clr>
            <a:srgbClr val="FBAE40"/>
          </p15:clr>
        </p15:guide>
        <p15:guide id="2" orient="horz" pos="2409">
          <p15:clr>
            <a:srgbClr val="FBAE40"/>
          </p15:clr>
        </p15:guide>
        <p15:guide id="3" pos="7219">
          <p15:clr>
            <a:srgbClr val="FBAE40"/>
          </p15:clr>
        </p15:guide>
        <p15:guide id="4" orient="horz" pos="3861">
          <p15:clr>
            <a:srgbClr val="FBAE40"/>
          </p15:clr>
        </p15:guide>
        <p15:guide id="5" pos="3205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Bilder_Text Mi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6769680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CA891489-A975-4995-9837-165DB51E0782}"/>
              </a:ext>
            </a:extLst>
          </p:cNvPr>
          <p:cNvSpPr>
            <a:spLocks/>
          </p:cNvSpPr>
          <p:nvPr/>
        </p:nvSpPr>
        <p:spPr>
          <a:xfrm>
            <a:off x="4837105" y="1773238"/>
            <a:ext cx="2517804" cy="4356100"/>
          </a:xfrm>
          <a:prstGeom prst="rect">
            <a:avLst/>
          </a:prstGeom>
          <a:noFill/>
          <a:ln w="19050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13.02.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9782719" cy="153888"/>
          </a:xfrm>
        </p:spPr>
        <p:txBody>
          <a:bodyPr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C31F6BF0-11B6-44E7-8396-A4C4CF06E29F}" type="slidenum">
              <a:rPr lang="de-DE" smtClean="0"/>
              <a:t>‹Nr.›</a:t>
            </a:fld>
            <a:endParaRPr lang="de-DE"/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B43628-C72B-4E89-965D-086F8357BF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4" y="1773238"/>
            <a:ext cx="4475999" cy="43561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74603" y="3574675"/>
            <a:ext cx="2042808" cy="20381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defRPr sz="1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Bildplatzhalter 9">
            <a:extLst>
              <a:ext uri="{FF2B5EF4-FFF2-40B4-BE49-F238E27FC236}">
                <a16:creationId xmlns:a16="http://schemas.microsoft.com/office/drawing/2014/main" id="{A68B3DDB-CD72-4BCA-B6D5-C46AFE36BBC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716001" y="1773238"/>
            <a:ext cx="4475999" cy="43561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751738A-69A6-450E-9F1E-64087C35FF3C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5074603" y="2858041"/>
            <a:ext cx="2042808" cy="276999"/>
          </a:xfrm>
        </p:spPr>
        <p:txBody>
          <a:bodyPr anchor="b">
            <a:spAutoFit/>
          </a:bodyPr>
          <a:lstStyle>
            <a:lvl1pPr marL="0" indent="0" algn="ctr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2000">
                <a:solidFill>
                  <a:schemeClr val="tx2"/>
                </a:solidFill>
              </a:defRPr>
            </a:lvl1pPr>
            <a:lvl2pPr marL="179387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2pPr>
            <a:lvl3pPr marL="358775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538162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4pPr>
            <a:lvl5pPr marL="71755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731838" y="552420"/>
            <a:ext cx="10728325" cy="523220"/>
          </a:xfrm>
        </p:spPr>
        <p:txBody>
          <a:bodyPr lIns="0" tIns="0" rIns="0" bIns="0" anchor="b">
            <a:spAutoFit/>
          </a:bodyPr>
          <a:lstStyle>
            <a:lvl1pPr algn="ctr">
              <a:lnSpc>
                <a:spcPct val="100000"/>
              </a:lnSpc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37293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orient="horz" pos="1117">
          <p15:clr>
            <a:srgbClr val="FBAE40"/>
          </p15:clr>
        </p15:guide>
        <p15:guide id="4" orient="horz" pos="3861">
          <p15:clr>
            <a:srgbClr val="FBAE40"/>
          </p15:clr>
        </p15:guide>
        <p15:guide id="5" pos="461">
          <p15:clr>
            <a:srgbClr val="FBAE40"/>
          </p15:clr>
        </p15:guide>
        <p15:guide id="6" pos="7219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Bilder_ blaue Fläche mi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4677207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2F80D41E-AF08-44EF-9091-1801C740C61F}"/>
              </a:ext>
            </a:extLst>
          </p:cNvPr>
          <p:cNvSpPr>
            <a:spLocks/>
          </p:cNvSpPr>
          <p:nvPr/>
        </p:nvSpPr>
        <p:spPr>
          <a:xfrm>
            <a:off x="4064009" y="1773239"/>
            <a:ext cx="4063995" cy="23999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838" y="212573"/>
            <a:ext cx="10728325" cy="523220"/>
          </a:xfrm>
        </p:spPr>
        <p:txBody>
          <a:bodyPr lIns="0" tIns="0" rIns="0" bIns="0">
            <a:spAutoFit/>
          </a:bodyPr>
          <a:lstStyle>
            <a:lvl1pPr algn="ctr">
              <a:lnSpc>
                <a:spcPct val="100000"/>
              </a:lnSpc>
              <a:spcBef>
                <a:spcPts val="300"/>
              </a:spcBef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/>
              <a:t>13.02.2025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9782719" cy="153888"/>
          </a:xfrm>
        </p:spPr>
        <p:txBody>
          <a:bodyPr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C31F6BF0-11B6-44E7-8396-A4C4CF06E29F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0F479CA-E3C8-4ACE-99D5-F1F7391799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1838" y="773460"/>
            <a:ext cx="10728325" cy="246221"/>
          </a:xfrm>
        </p:spPr>
        <p:txBody>
          <a:bodyPr lIns="0" tIns="0" rIns="0" bIns="0">
            <a:sp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B43628-C72B-4E89-965D-086F8357BF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3" y="1773239"/>
            <a:ext cx="4063995" cy="2399928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837" y="4601182"/>
            <a:ext cx="10728325" cy="152815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6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6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defRPr sz="16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defRPr sz="1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Bildplatzhalter 9">
            <a:extLst>
              <a:ext uri="{FF2B5EF4-FFF2-40B4-BE49-F238E27FC236}">
                <a16:creationId xmlns:a16="http://schemas.microsoft.com/office/drawing/2014/main" id="{A68B3DDB-CD72-4BCA-B6D5-C46AFE36BBC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28005" y="1773239"/>
            <a:ext cx="4063995" cy="2399928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53EAF62C-E018-4CB3-B20B-1B89D06CE6EB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4594712" y="2850203"/>
            <a:ext cx="3002590" cy="739302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 marL="179387" indent="0" algn="ctr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358775" indent="0" algn="ctr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3pPr>
            <a:lvl4pPr marL="538162" indent="0" algn="ctr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4pPr>
            <a:lvl5pPr marL="717550" indent="0" algn="ctr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6851378D-E609-46D5-A618-66087BB247B7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594712" y="2373634"/>
            <a:ext cx="3002590" cy="369332"/>
          </a:xfrm>
        </p:spPr>
        <p:txBody>
          <a:bodyPr wrap="square" anchor="b">
            <a:sp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179387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2pPr>
            <a:lvl3pPr marL="358775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538162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4pPr>
            <a:lvl5pPr marL="71755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de-DE" dirty="0"/>
              <a:t>Überschrift</a:t>
            </a:r>
          </a:p>
        </p:txBody>
      </p:sp>
    </p:spTree>
    <p:extLst>
      <p:ext uri="{BB962C8B-B14F-4D97-AF65-F5344CB8AC3E}">
        <p14:creationId xmlns:p14="http://schemas.microsoft.com/office/powerpoint/2010/main" val="25036345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orient="horz" pos="1117">
          <p15:clr>
            <a:srgbClr val="FBAE40"/>
          </p15:clr>
        </p15:guide>
        <p15:guide id="4" orient="horz" pos="3861">
          <p15:clr>
            <a:srgbClr val="FBAE40"/>
          </p15:clr>
        </p15:guide>
        <p15:guide id="5" pos="461">
          <p15:clr>
            <a:srgbClr val="FBAE40"/>
          </p15:clr>
        </p15:guide>
        <p15:guide id="6" pos="721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lder_Text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4983707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838" y="212573"/>
            <a:ext cx="10728325" cy="523220"/>
          </a:xfrm>
        </p:spPr>
        <p:txBody>
          <a:bodyPr lIns="0" tIns="0" rIns="0" bIns="0">
            <a:spAutoFit/>
          </a:bodyPr>
          <a:lstStyle>
            <a:lvl1pPr algn="ctr">
              <a:lnSpc>
                <a:spcPct val="100000"/>
              </a:lnSpc>
              <a:spcBef>
                <a:spcPts val="300"/>
              </a:spcBef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13.02.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9782719" cy="153888"/>
          </a:xfrm>
        </p:spPr>
        <p:txBody>
          <a:bodyPr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C31F6BF0-11B6-44E7-8396-A4C4CF06E29F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0F479CA-E3C8-4ACE-99D5-F1F7391799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1838" y="773460"/>
            <a:ext cx="10728325" cy="246221"/>
          </a:xfrm>
        </p:spPr>
        <p:txBody>
          <a:bodyPr lIns="0" tIns="0" rIns="0" bIns="0">
            <a:sp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B43628-C72B-4E89-965D-086F8357BF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02530" y="1773238"/>
            <a:ext cx="2432544" cy="4357548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2" name="Bildplatzhalter 9">
            <a:extLst>
              <a:ext uri="{FF2B5EF4-FFF2-40B4-BE49-F238E27FC236}">
                <a16:creationId xmlns:a16="http://schemas.microsoft.com/office/drawing/2014/main" id="{A662C4E2-1E6D-4BE9-A0A4-ED48EB2245E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415074" y="1773238"/>
            <a:ext cx="2432544" cy="4357548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3" name="Bildplatzhalter 9">
            <a:extLst>
              <a:ext uri="{FF2B5EF4-FFF2-40B4-BE49-F238E27FC236}">
                <a16:creationId xmlns:a16="http://schemas.microsoft.com/office/drawing/2014/main" id="{2EEA3BC9-FFCA-4710-869B-95BB187FE88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027619" y="1773238"/>
            <a:ext cx="2432544" cy="4357548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DD5E3E0A-F708-49AD-B11F-F78E45105B3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31838" y="2558374"/>
            <a:ext cx="2838215" cy="357241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1600"/>
            </a:lvl1pPr>
            <a:lvl2pPr>
              <a:lnSpc>
                <a:spcPct val="100000"/>
              </a:lnSpc>
              <a:spcBef>
                <a:spcPts val="400"/>
              </a:spcBef>
              <a:defRPr sz="1600"/>
            </a:lvl2pPr>
            <a:lvl3pPr>
              <a:lnSpc>
                <a:spcPct val="100000"/>
              </a:lnSpc>
              <a:spcBef>
                <a:spcPts val="400"/>
              </a:spcBef>
              <a:defRPr sz="1600"/>
            </a:lvl3pPr>
            <a:lvl4pPr>
              <a:lnSpc>
                <a:spcPct val="100000"/>
              </a:lnSpc>
              <a:spcBef>
                <a:spcPts val="400"/>
              </a:spcBef>
              <a:defRPr sz="1600"/>
            </a:lvl4pPr>
            <a:lvl5pPr>
              <a:lnSpc>
                <a:spcPct val="100000"/>
              </a:lnSpc>
              <a:spcBef>
                <a:spcPts val="400"/>
              </a:spcBef>
              <a:defRPr sz="16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2382B2BD-BFE7-4EE8-9EA1-44AC24477C4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31838" y="1773238"/>
            <a:ext cx="2838215" cy="553998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2000">
                <a:solidFill>
                  <a:schemeClr val="tx2"/>
                </a:solidFill>
              </a:defRPr>
            </a:lvl1pPr>
            <a:lvl2pPr marL="179387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2pPr>
            <a:lvl3pPr marL="358775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538162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4pPr>
            <a:lvl5pPr marL="71755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de-DE" dirty="0"/>
              <a:t>Überschrift</a:t>
            </a:r>
          </a:p>
        </p:txBody>
      </p:sp>
    </p:spTree>
    <p:extLst>
      <p:ext uri="{BB962C8B-B14F-4D97-AF65-F5344CB8AC3E}">
        <p14:creationId xmlns:p14="http://schemas.microsoft.com/office/powerpoint/2010/main" val="18878642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1117">
          <p15:clr>
            <a:srgbClr val="FBAE40"/>
          </p15:clr>
        </p15:guide>
        <p15:guide id="4" orient="horz" pos="3861">
          <p15:clr>
            <a:srgbClr val="FBAE40"/>
          </p15:clr>
        </p15:guide>
        <p15:guide id="5" pos="461">
          <p15:clr>
            <a:srgbClr val="FBAE40"/>
          </p15:clr>
        </p15:guide>
        <p15:guide id="6" pos="7219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lder_Text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110250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838" y="212573"/>
            <a:ext cx="10728325" cy="523220"/>
          </a:xfrm>
        </p:spPr>
        <p:txBody>
          <a:bodyPr lIns="0" tIns="0" rIns="0" bIns="0">
            <a:spAutoFit/>
          </a:bodyPr>
          <a:lstStyle>
            <a:lvl1pPr algn="ctr">
              <a:lnSpc>
                <a:spcPct val="100000"/>
              </a:lnSpc>
              <a:spcBef>
                <a:spcPts val="300"/>
              </a:spcBef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13.02.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9782719" cy="153888"/>
          </a:xfrm>
        </p:spPr>
        <p:txBody>
          <a:bodyPr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C31F6BF0-11B6-44E7-8396-A4C4CF06E29F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0F479CA-E3C8-4ACE-99D5-F1F7391799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1838" y="773460"/>
            <a:ext cx="10728325" cy="246221"/>
          </a:xfrm>
        </p:spPr>
        <p:txBody>
          <a:bodyPr lIns="0" tIns="0" rIns="0" bIns="0">
            <a:sp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B43628-C72B-4E89-965D-086F8357BF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591112" y="1773238"/>
            <a:ext cx="2838215" cy="20160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62674" y="4638675"/>
            <a:ext cx="2838215" cy="149211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1400"/>
            </a:lvl1pPr>
            <a:lvl2pPr>
              <a:lnSpc>
                <a:spcPct val="100000"/>
              </a:lnSpc>
              <a:spcBef>
                <a:spcPts val="400"/>
              </a:spcBef>
              <a:defRPr sz="1400"/>
            </a:lvl2pPr>
            <a:lvl3pPr>
              <a:lnSpc>
                <a:spcPct val="100000"/>
              </a:lnSpc>
              <a:spcBef>
                <a:spcPts val="400"/>
              </a:spcBef>
              <a:defRPr sz="1400"/>
            </a:lvl3pPr>
            <a:lvl4pPr>
              <a:lnSpc>
                <a:spcPct val="100000"/>
              </a:lnSpc>
              <a:spcBef>
                <a:spcPts val="400"/>
              </a:spcBef>
              <a:defRPr sz="1400"/>
            </a:lvl4pPr>
            <a:lvl5pPr>
              <a:lnSpc>
                <a:spcPct val="100000"/>
              </a:lnSpc>
              <a:spcBef>
                <a:spcPts val="400"/>
              </a:spcBef>
              <a:defRPr sz="14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Bildplatzhalter 9">
            <a:extLst>
              <a:ext uri="{FF2B5EF4-FFF2-40B4-BE49-F238E27FC236}">
                <a16:creationId xmlns:a16="http://schemas.microsoft.com/office/drawing/2014/main" id="{A662C4E2-1E6D-4BE9-A0A4-ED48EB2245E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76893" y="1773238"/>
            <a:ext cx="2838215" cy="20160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3" name="Bildplatzhalter 9">
            <a:extLst>
              <a:ext uri="{FF2B5EF4-FFF2-40B4-BE49-F238E27FC236}">
                <a16:creationId xmlns:a16="http://schemas.microsoft.com/office/drawing/2014/main" id="{2EEA3BC9-FFCA-4710-869B-95BB187FE88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762674" y="1773238"/>
            <a:ext cx="2838215" cy="20160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49B42DD-E72C-4AB7-87D1-28C206582074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4676893" y="4638675"/>
            <a:ext cx="2838215" cy="149211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1400"/>
            </a:lvl1pPr>
            <a:lvl2pPr>
              <a:lnSpc>
                <a:spcPct val="100000"/>
              </a:lnSpc>
              <a:spcBef>
                <a:spcPts val="400"/>
              </a:spcBef>
              <a:defRPr sz="1400"/>
            </a:lvl2pPr>
            <a:lvl3pPr>
              <a:lnSpc>
                <a:spcPct val="100000"/>
              </a:lnSpc>
              <a:spcBef>
                <a:spcPts val="400"/>
              </a:spcBef>
              <a:defRPr sz="1400"/>
            </a:lvl3pPr>
            <a:lvl4pPr>
              <a:lnSpc>
                <a:spcPct val="100000"/>
              </a:lnSpc>
              <a:spcBef>
                <a:spcPts val="400"/>
              </a:spcBef>
              <a:defRPr sz="1400"/>
            </a:lvl4pPr>
            <a:lvl5pPr>
              <a:lnSpc>
                <a:spcPct val="100000"/>
              </a:lnSpc>
              <a:spcBef>
                <a:spcPts val="400"/>
              </a:spcBef>
              <a:defRPr sz="14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DD5E3E0A-F708-49AD-B11F-F78E45105B3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1591112" y="4638675"/>
            <a:ext cx="2838215" cy="149211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1400"/>
            </a:lvl1pPr>
            <a:lvl2pPr>
              <a:lnSpc>
                <a:spcPct val="100000"/>
              </a:lnSpc>
              <a:spcBef>
                <a:spcPts val="400"/>
              </a:spcBef>
              <a:defRPr sz="1400"/>
            </a:lvl2pPr>
            <a:lvl3pPr>
              <a:lnSpc>
                <a:spcPct val="100000"/>
              </a:lnSpc>
              <a:spcBef>
                <a:spcPts val="400"/>
              </a:spcBef>
              <a:defRPr sz="1400"/>
            </a:lvl3pPr>
            <a:lvl4pPr>
              <a:lnSpc>
                <a:spcPct val="100000"/>
              </a:lnSpc>
              <a:spcBef>
                <a:spcPts val="400"/>
              </a:spcBef>
              <a:defRPr sz="1400"/>
            </a:lvl4pPr>
            <a:lvl5pPr>
              <a:lnSpc>
                <a:spcPct val="100000"/>
              </a:lnSpc>
              <a:spcBef>
                <a:spcPts val="400"/>
              </a:spcBef>
              <a:defRPr sz="14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2382B2BD-BFE7-4EE8-9EA1-44AC24477C4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1591112" y="3904158"/>
            <a:ext cx="2838215" cy="249299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>
                <a:solidFill>
                  <a:schemeClr val="tx2"/>
                </a:solidFill>
              </a:defRPr>
            </a:lvl1pPr>
            <a:lvl2pPr marL="179387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2pPr>
            <a:lvl3pPr marL="358775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538162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4pPr>
            <a:lvl5pPr marL="71755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2900D99-3563-4B33-9CCC-584A4ACD6604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676893" y="3904158"/>
            <a:ext cx="2838215" cy="249299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>
                <a:solidFill>
                  <a:schemeClr val="tx2"/>
                </a:solidFill>
              </a:defRPr>
            </a:lvl1pPr>
            <a:lvl2pPr marL="179387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2pPr>
            <a:lvl3pPr marL="358775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538162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4pPr>
            <a:lvl5pPr marL="71755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5340A24-2670-4290-8A52-907815A70A20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7762674" y="3904158"/>
            <a:ext cx="2838215" cy="249299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>
                <a:solidFill>
                  <a:schemeClr val="tx2"/>
                </a:solidFill>
              </a:defRPr>
            </a:lvl1pPr>
            <a:lvl2pPr marL="179387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2pPr>
            <a:lvl3pPr marL="358775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538162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4pPr>
            <a:lvl5pPr marL="71755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5BA5501F-F55F-4B97-B199-973F038AF52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1591112" y="4172913"/>
            <a:ext cx="2838215" cy="166199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00" b="0" i="1">
                <a:solidFill>
                  <a:schemeClr val="tx1"/>
                </a:solidFill>
              </a:defRPr>
            </a:lvl1pPr>
            <a:lvl2pPr marL="179387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2pPr>
            <a:lvl3pPr marL="358775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538162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4pPr>
            <a:lvl5pPr marL="71755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de-DE" dirty="0" err="1"/>
              <a:t>Subtitel</a:t>
            </a:r>
            <a:endParaRPr lang="de-DE" dirty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0E42BAA3-7C72-45C7-85E2-E281C6A084C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676893" y="4172913"/>
            <a:ext cx="2838215" cy="166199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00" i="1">
                <a:solidFill>
                  <a:schemeClr val="tx1"/>
                </a:solidFill>
              </a:defRPr>
            </a:lvl1pPr>
            <a:lvl2pPr marL="179387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2pPr>
            <a:lvl3pPr marL="358775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538162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4pPr>
            <a:lvl5pPr marL="71755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de-DE" dirty="0" err="1"/>
              <a:t>Subtitel</a:t>
            </a:r>
            <a:endParaRPr lang="de-DE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87B07B0E-6E98-4B1E-9664-0973514586F2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762674" y="4172913"/>
            <a:ext cx="2838215" cy="166199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00" i="1">
                <a:solidFill>
                  <a:schemeClr val="tx1"/>
                </a:solidFill>
              </a:defRPr>
            </a:lvl1pPr>
            <a:lvl2pPr marL="179387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2pPr>
            <a:lvl3pPr marL="358775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538162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4pPr>
            <a:lvl5pPr marL="71755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de-DE" dirty="0" err="1"/>
              <a:t>Subt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725677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1117">
          <p15:clr>
            <a:srgbClr val="FBAE40"/>
          </p15:clr>
        </p15:guide>
        <p15:guide id="4" orient="horz" pos="3861">
          <p15:clr>
            <a:srgbClr val="FBAE40"/>
          </p15:clr>
        </p15:guide>
        <p15:guide id="5" pos="461">
          <p15:clr>
            <a:srgbClr val="FBAE40"/>
          </p15:clr>
        </p15:guide>
        <p15:guide id="6" pos="7219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4133129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12" name="Bildplatzhalter 9">
            <a:extLst>
              <a:ext uri="{FF2B5EF4-FFF2-40B4-BE49-F238E27FC236}">
                <a16:creationId xmlns:a16="http://schemas.microsoft.com/office/drawing/2014/main" id="{D9422C11-C775-49C7-BF58-EE0C77B9355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4562271"/>
            <a:ext cx="2975999" cy="2295728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B43628-C72B-4E89-965D-086F8357BF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2975999" cy="4427132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838" y="1384428"/>
            <a:ext cx="4621618" cy="1046440"/>
          </a:xfr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spcBef>
                <a:spcPts val="300"/>
              </a:spcBef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13.02.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4363398" cy="153888"/>
          </a:xfrm>
        </p:spPr>
        <p:txBody>
          <a:bodyPr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C31F6BF0-11B6-44E7-8396-A4C4CF06E29F}" type="slidenum">
              <a:rPr lang="de-DE" smtClean="0"/>
              <a:t>‹Nr.›</a:t>
            </a:fld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838" y="3094438"/>
            <a:ext cx="4621618" cy="2880299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Bildplatzhalter 9">
            <a:extLst>
              <a:ext uri="{FF2B5EF4-FFF2-40B4-BE49-F238E27FC236}">
                <a16:creationId xmlns:a16="http://schemas.microsoft.com/office/drawing/2014/main" id="{95E9E5CF-07F2-4D04-9EEE-47FC165F8B1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215999" y="2430867"/>
            <a:ext cx="2975999" cy="4427132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4" name="Bildplatzhalter 9">
            <a:extLst>
              <a:ext uri="{FF2B5EF4-FFF2-40B4-BE49-F238E27FC236}">
                <a16:creationId xmlns:a16="http://schemas.microsoft.com/office/drawing/2014/main" id="{4ADC91AD-0A8F-4779-8109-66D7B245D51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215999" y="0"/>
            <a:ext cx="2975999" cy="2295728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9780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61">
          <p15:clr>
            <a:srgbClr val="FBAE40"/>
          </p15:clr>
        </p15:guide>
        <p15:guide id="3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ontakt_allgem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7179356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B43628-C72B-4E89-965D-086F8357BF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-1"/>
            <a:ext cx="12192000" cy="3681413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FD1B9A78-C004-49FB-8BDA-D0AC5DFCE2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90974" y="1095027"/>
            <a:ext cx="4210052" cy="2586385"/>
          </a:xfrm>
          <a:gradFill flip="none" rotWithShape="0">
            <a:gsLst>
              <a:gs pos="0">
                <a:schemeClr val="accent6"/>
              </a:gs>
              <a:gs pos="100000">
                <a:schemeClr val="accent6">
                  <a:alpha val="70000"/>
                  <a:lumMod val="54000"/>
                </a:schemeClr>
              </a:gs>
            </a:gsLst>
            <a:lin ang="6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>
            <a:normAutofit/>
          </a:bodyPr>
          <a:lstStyle>
            <a:lvl1pPr marL="0" indent="0" algn="l">
              <a:buNone/>
              <a:defRPr lang="en-GB" sz="1800" dirty="0">
                <a:solidFill>
                  <a:schemeClr val="lt1"/>
                </a:solidFill>
              </a:defRPr>
            </a:lvl1pPr>
          </a:lstStyle>
          <a:p>
            <a:pPr marL="179388" lvl="0" indent="-179388" algn="ctr" defTabSz="457200"/>
            <a:r>
              <a:rPr lang="en-GB" dirty="0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838" y="4051064"/>
            <a:ext cx="10728325" cy="523220"/>
          </a:xfrm>
        </p:spPr>
        <p:txBody>
          <a:bodyPr wrap="square" lIns="0" tIns="0" rIns="0" bIns="0" anchor="t">
            <a:spAutoFit/>
          </a:bodyPr>
          <a:lstStyle>
            <a:lvl1pPr algn="ctr">
              <a:lnSpc>
                <a:spcPct val="100000"/>
              </a:lnSpc>
              <a:spcBef>
                <a:spcPts val="300"/>
              </a:spcBef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13.02.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5105943" cy="153888"/>
          </a:xfrm>
        </p:spPr>
        <p:txBody>
          <a:bodyPr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C31F6BF0-11B6-44E7-8396-A4C4CF06E29F}" type="slidenum">
              <a:rPr lang="de-DE" smtClean="0"/>
              <a:t>‹Nr.›</a:t>
            </a:fld>
            <a:endParaRPr lang="de-DE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B5DF24FB-C636-4112-BE43-F0300251DED4}"/>
              </a:ext>
            </a:extLst>
          </p:cNvPr>
          <p:cNvCxnSpPr/>
          <p:nvPr/>
        </p:nvCxnSpPr>
        <p:spPr>
          <a:xfrm>
            <a:off x="5707538" y="4761405"/>
            <a:ext cx="776924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btfpLayoutConfig" hidden="1">
            <a:extLst>
              <a:ext uri="{FF2B5EF4-FFF2-40B4-BE49-F238E27FC236}">
                <a16:creationId xmlns:a16="http://schemas.microsoft.com/office/drawing/2014/main" id="{CD1EB402-2B1A-4523-B07A-912EDFD3332D}"/>
              </a:ext>
            </a:extLst>
          </p:cNvPr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de-DE" sz="100">
                <a:solidFill>
                  <a:srgbClr val="FFFFFF">
                    <a:alpha val="0"/>
                  </a:srgbClr>
                </a:solidFill>
              </a:rPr>
              <a:t>overall_0_132059443511967908 columns_1_132059443511967908 </a:t>
            </a:r>
            <a:endParaRPr lang="de-DE" sz="100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21"/>
          </p:nvPr>
        </p:nvSpPr>
        <p:spPr>
          <a:xfrm>
            <a:off x="4367597" y="2080443"/>
            <a:ext cx="3456806" cy="615553"/>
          </a:xfrm>
        </p:spPr>
        <p:txBody>
          <a:bodyPr vert="horz" wrap="square" lIns="0" tIns="0" rIns="0" bIns="0" rtlCol="0" anchor="ctr">
            <a:spAutoFit/>
          </a:bodyPr>
          <a:lstStyle>
            <a:lvl1pPr marL="0" indent="0" algn="ctr">
              <a:buNone/>
              <a:defRPr lang="de-DE" sz="2000" b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de-DE" sz="1800" smtClean="0"/>
            </a:lvl2pPr>
            <a:lvl3pPr>
              <a:defRPr lang="de-DE" sz="1800" smtClean="0"/>
            </a:lvl3pPr>
            <a:lvl4pPr>
              <a:defRPr lang="de-DE" sz="1800" smtClean="0"/>
            </a:lvl4pPr>
            <a:lvl5pPr>
              <a:defRPr lang="de-DE" sz="1800"/>
            </a:lvl5pPr>
          </a:lstStyle>
          <a:p>
            <a:pPr marL="163512" lvl="0" indent="-342900" algn="ctr">
              <a:spcBef>
                <a:spcPct val="0"/>
              </a:spcBef>
            </a:pPr>
            <a:r>
              <a:rPr lang="de-DE"/>
              <a:t>Formatvorlagen des Textmasters bearbeiten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A0A29180-627F-4549-B520-E6568305CD9C}"/>
              </a:ext>
            </a:extLst>
          </p:cNvPr>
          <p:cNvSpPr/>
          <p:nvPr/>
        </p:nvSpPr>
        <p:spPr>
          <a:xfrm>
            <a:off x="12432704" y="18728"/>
            <a:ext cx="1620000" cy="341632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algn="l"/>
            <a:r>
              <a:rPr lang="de-DE" sz="1200" b="1" dirty="0"/>
              <a:t>Hintergrundbild</a:t>
            </a:r>
            <a:r>
              <a:rPr lang="de-DE" sz="1200" b="1" baseline="0" dirty="0"/>
              <a:t> einfügen</a:t>
            </a:r>
          </a:p>
          <a:p>
            <a:pPr algn="l"/>
            <a:endParaRPr lang="de-DE" sz="1200" b="1" baseline="0" dirty="0"/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dirty="0"/>
              <a:t>1. Auf Bild </a:t>
            </a:r>
            <a:r>
              <a:rPr lang="de-DE" sz="1200" b="1" i="1" dirty="0"/>
              <a:t>Rechtsklick </a:t>
            </a:r>
            <a:r>
              <a:rPr lang="de-DE" sz="1200" b="1" i="1" dirty="0">
                <a:sym typeface="Wingdings" panose="05000000000000000000" pitchFamily="2" charset="2"/>
              </a:rPr>
              <a:t></a:t>
            </a:r>
            <a:br>
              <a:rPr lang="de-DE" sz="1200" b="1" i="1" dirty="0">
                <a:sym typeface="Wingdings" panose="05000000000000000000" pitchFamily="2" charset="2"/>
              </a:rPr>
            </a:br>
            <a:r>
              <a:rPr lang="de-DE" sz="1200" b="1" i="0" dirty="0">
                <a:solidFill>
                  <a:srgbClr val="FF0000"/>
                </a:solidFill>
                <a:highlight>
                  <a:srgbClr val="F9F9F9"/>
                </a:highlight>
                <a:sym typeface="Wingdings" panose="05000000000000000000" pitchFamily="2" charset="2"/>
              </a:rPr>
              <a:t>In den Vordergrund </a:t>
            </a:r>
          </a:p>
          <a:p>
            <a:pPr algn="l"/>
            <a:endParaRPr lang="de-DE" sz="1200" b="1" dirty="0"/>
          </a:p>
          <a:p>
            <a:pPr algn="l"/>
            <a:r>
              <a:rPr lang="de-DE" sz="1200" b="1" dirty="0"/>
              <a:t>2.</a:t>
            </a:r>
            <a:r>
              <a:rPr lang="de-DE" sz="1200" b="0" baseline="0" dirty="0"/>
              <a:t> Gewünschtes Bild einfügen. </a:t>
            </a:r>
            <a:r>
              <a:rPr lang="de-DE" sz="1200" dirty="0"/>
              <a:t>Klicken sie dazu auf das Bild-Icon in der Mitte des Platzhalters.</a:t>
            </a:r>
          </a:p>
          <a:p>
            <a:pPr algn="l"/>
            <a:endParaRPr lang="de-DE" sz="1200" dirty="0"/>
          </a:p>
          <a:p>
            <a:pPr algn="l"/>
            <a:r>
              <a:rPr lang="de-DE" sz="1200" b="1" dirty="0"/>
              <a:t>3. </a:t>
            </a:r>
            <a:r>
              <a:rPr lang="de-DE" sz="1200" dirty="0"/>
              <a:t>Haben Sie das gewünschte Bild eingefügt</a:t>
            </a:r>
            <a:br>
              <a:rPr lang="de-DE" sz="1200" dirty="0"/>
            </a:br>
            <a:r>
              <a:rPr lang="de-DE" sz="1200" b="1" i="1" dirty="0"/>
              <a:t>Rechtsklick </a:t>
            </a:r>
            <a:r>
              <a:rPr lang="de-DE" sz="1200" b="1" i="1" dirty="0">
                <a:sym typeface="Wingdings" panose="05000000000000000000" pitchFamily="2" charset="2"/>
              </a:rPr>
              <a:t></a:t>
            </a:r>
            <a:br>
              <a:rPr lang="de-DE" sz="1200" b="1" i="1" dirty="0">
                <a:sym typeface="Wingdings" panose="05000000000000000000" pitchFamily="2" charset="2"/>
              </a:rPr>
            </a:br>
            <a:r>
              <a:rPr lang="de-DE" sz="1200" b="1" i="0" dirty="0">
                <a:solidFill>
                  <a:srgbClr val="FF0000"/>
                </a:solidFill>
                <a:highlight>
                  <a:srgbClr val="F9F9F9"/>
                </a:highlight>
                <a:sym typeface="Wingdings" panose="05000000000000000000" pitchFamily="2" charset="2"/>
              </a:rPr>
              <a:t>In den Hintergrund </a:t>
            </a:r>
          </a:p>
        </p:txBody>
      </p:sp>
      <p:sp>
        <p:nvSpPr>
          <p:cNvPr id="15" name="Inhaltsplatzhalter 7"/>
          <p:cNvSpPr>
            <a:spLocks noGrp="1"/>
          </p:cNvSpPr>
          <p:nvPr>
            <p:ph idx="1" hasCustomPrompt="1"/>
          </p:nvPr>
        </p:nvSpPr>
        <p:spPr>
          <a:xfrm>
            <a:off x="731837" y="5085184"/>
            <a:ext cx="10728325" cy="889553"/>
          </a:xfrm>
        </p:spPr>
        <p:txBody>
          <a:bodyPr/>
          <a:lstStyle>
            <a:lvl1pPr marL="0" indent="0" algn="ctr">
              <a:buNone/>
              <a:defRPr sz="1400"/>
            </a:lvl1pPr>
            <a:lvl2pPr>
              <a:defRPr/>
            </a:lvl2pPr>
          </a:lstStyle>
          <a:p>
            <a:r>
              <a:rPr lang="en-GB" dirty="0" err="1"/>
              <a:t>Ich</a:t>
            </a:r>
            <a:r>
              <a:rPr lang="en-GB" dirty="0"/>
              <a:t> bin </a:t>
            </a:r>
            <a:r>
              <a:rPr lang="en-GB" dirty="0" err="1"/>
              <a:t>ein</a:t>
            </a:r>
            <a:r>
              <a:rPr lang="en-GB" dirty="0"/>
              <a:t> </a:t>
            </a:r>
            <a:r>
              <a:rPr lang="en-GB" dirty="0" err="1"/>
              <a:t>Beispieltext</a:t>
            </a:r>
            <a:endParaRPr lang="en-GB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089504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64">
          <p15:clr>
            <a:srgbClr val="CCCCCC"/>
          </p15:clr>
        </p15:guide>
        <p15:guide id="2" pos="7216">
          <p15:clr>
            <a:srgbClr val="CCCCCC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ontakt_ 1 Per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4974510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E1F0C5B-74B5-43D2-AA28-C4E0E46C13F1}"/>
              </a:ext>
            </a:extLst>
          </p:cNvPr>
          <p:cNvSpPr>
            <a:spLocks/>
          </p:cNvSpPr>
          <p:nvPr/>
        </p:nvSpPr>
        <p:spPr>
          <a:xfrm>
            <a:off x="5710137" y="1773237"/>
            <a:ext cx="6481864" cy="360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838" y="552420"/>
            <a:ext cx="10728325" cy="523220"/>
          </a:xfrm>
        </p:spPr>
        <p:txBody>
          <a:bodyPr lIns="0" tIns="0" rIns="0" bIns="0" anchor="b">
            <a:spAutoFit/>
          </a:bodyPr>
          <a:lstStyle>
            <a:lvl1pPr algn="ctr">
              <a:lnSpc>
                <a:spcPct val="100000"/>
              </a:lnSpc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0" y="3356992"/>
            <a:ext cx="5364163" cy="1673159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718914BC-99FD-40E0-A791-738784804266}" type="datetimeFigureOut">
              <a:rPr lang="de-DE" smtClean="0"/>
              <a:t>24.02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9782719" cy="153888"/>
          </a:xfrm>
        </p:spPr>
        <p:txBody>
          <a:bodyPr lIns="0" tIns="0" rIns="0" bIns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C31F6BF0-11B6-44E7-8396-A4C4CF06E29F}" type="slidenum">
              <a:rPr lang="de-DE" smtClean="0"/>
              <a:t>‹Nr.›</a:t>
            </a:fld>
            <a:endParaRPr lang="de-DE"/>
          </a:p>
        </p:txBody>
      </p:sp>
      <p:sp>
        <p:nvSpPr>
          <p:cNvPr id="13" name="Bildplatzhalter 9">
            <a:extLst>
              <a:ext uri="{FF2B5EF4-FFF2-40B4-BE49-F238E27FC236}">
                <a16:creationId xmlns:a16="http://schemas.microsoft.com/office/drawing/2014/main" id="{33739170-57E2-4D7C-A737-907FC7D43F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944164" y="1773237"/>
            <a:ext cx="3600000" cy="36000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2AE245BC-FC39-4398-B403-B1C260965CB3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096000" y="2645440"/>
            <a:ext cx="5364163" cy="246221"/>
          </a:xfr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179387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358775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538162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71755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2B872C45-5698-453F-9BF7-321B6EDEEE56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096000" y="2147277"/>
            <a:ext cx="5364163" cy="430887"/>
          </a:xfr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2800">
                <a:solidFill>
                  <a:schemeClr val="bg1"/>
                </a:solidFill>
              </a:defRPr>
            </a:lvl1pPr>
            <a:lvl2pPr marL="179387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358775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538162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71755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Vorname Name</a:t>
            </a:r>
          </a:p>
        </p:txBody>
      </p:sp>
      <p:sp>
        <p:nvSpPr>
          <p:cNvPr id="7" name="btfpLayoutConfig" hidden="1">
            <a:extLst>
              <a:ext uri="{FF2B5EF4-FFF2-40B4-BE49-F238E27FC236}">
                <a16:creationId xmlns:a16="http://schemas.microsoft.com/office/drawing/2014/main" id="{BC307CA8-DCC7-4CD6-9262-EA86BCBB52BB}"/>
              </a:ext>
            </a:extLst>
          </p:cNvPr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de-DE" sz="100">
                <a:solidFill>
                  <a:srgbClr val="FFFFFF">
                    <a:alpha val="0"/>
                  </a:srgbClr>
                </a:solidFill>
              </a:rPr>
              <a:t>overall_0_132059438575419169 columns_1_132059438575419169 </a:t>
            </a:r>
            <a:endParaRPr lang="de-DE" sz="100" dirty="0">
              <a:solidFill>
                <a:srgbClr val="FFFFFF">
                  <a:alpha val="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04329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61">
          <p15:clr>
            <a:srgbClr val="FBAE40"/>
          </p15:clr>
        </p15:guide>
        <p15:guide id="2" pos="7219">
          <p15:clr>
            <a:srgbClr val="FBAE40"/>
          </p15:clr>
        </p15:guide>
        <p15:guide id="3" orient="horz" pos="1117">
          <p15:clr>
            <a:srgbClr val="FBAE40"/>
          </p15:clr>
        </p15:guide>
        <p15:guide id="4" orient="horz" pos="386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ontakt_ 3 Person_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663107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13.02.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9782719" cy="153888"/>
          </a:xfrm>
        </p:spPr>
        <p:txBody>
          <a:bodyPr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C31F6BF0-11B6-44E7-8396-A4C4CF06E29F}" type="slidenum">
              <a:rPr lang="de-DE" smtClean="0"/>
              <a:t>‹Nr.›</a:t>
            </a:fld>
            <a:endParaRPr lang="de-DE"/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B43628-C72B-4E89-965D-086F8357BF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591112" y="1773238"/>
            <a:ext cx="2808490" cy="280849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2" name="Bildplatzhalter 9">
            <a:extLst>
              <a:ext uri="{FF2B5EF4-FFF2-40B4-BE49-F238E27FC236}">
                <a16:creationId xmlns:a16="http://schemas.microsoft.com/office/drawing/2014/main" id="{A662C4E2-1E6D-4BE9-A0A4-ED48EB2245E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76893" y="1773238"/>
            <a:ext cx="2808490" cy="280849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3" name="Bildplatzhalter 9">
            <a:extLst>
              <a:ext uri="{FF2B5EF4-FFF2-40B4-BE49-F238E27FC236}">
                <a16:creationId xmlns:a16="http://schemas.microsoft.com/office/drawing/2014/main" id="{2EEA3BC9-FFCA-4710-869B-95BB187FE88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762674" y="1773238"/>
            <a:ext cx="2808490" cy="280849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DD5E3E0A-F708-49AD-B11F-F78E45105B39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1591112" y="4906091"/>
            <a:ext cx="2808490" cy="276999"/>
          </a:xfrm>
        </p:spPr>
        <p:txBody>
          <a:bodyPr>
            <a:spAutoFit/>
          </a:bodyPr>
          <a:lstStyle>
            <a:lvl1pPr marL="0" indent="0" algn="ctr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None/>
              <a:defRPr sz="1800">
                <a:solidFill>
                  <a:schemeClr val="tx2"/>
                </a:solidFill>
              </a:defRPr>
            </a:lvl1pPr>
            <a:lvl2pPr marL="179387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2pPr>
            <a:lvl3pPr marL="358775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3pPr>
            <a:lvl4pPr marL="538162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4pPr>
            <a:lvl5pPr marL="717550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de-DE" dirty="0"/>
              <a:t>Name Vorname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8AA4845-411B-4D84-9684-13AEE0F82440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676893" y="4906091"/>
            <a:ext cx="2808490" cy="276999"/>
          </a:xfrm>
        </p:spPr>
        <p:txBody>
          <a:bodyPr>
            <a:spAutoFit/>
          </a:bodyPr>
          <a:lstStyle>
            <a:lvl1pPr marL="0" indent="0" algn="ctr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None/>
              <a:defRPr sz="1800">
                <a:solidFill>
                  <a:schemeClr val="tx2"/>
                </a:solidFill>
              </a:defRPr>
            </a:lvl1pPr>
            <a:lvl2pPr marL="179387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2pPr>
            <a:lvl3pPr marL="358775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3pPr>
            <a:lvl4pPr marL="538162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4pPr>
            <a:lvl5pPr marL="717550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de-DE" dirty="0"/>
              <a:t>Name Vornam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2B20E9C1-ECED-4851-AEFD-82700EC9521C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62674" y="4906091"/>
            <a:ext cx="2808490" cy="276999"/>
          </a:xfrm>
        </p:spPr>
        <p:txBody>
          <a:bodyPr>
            <a:spAutoFit/>
          </a:bodyPr>
          <a:lstStyle>
            <a:lvl1pPr marL="0" indent="0" algn="ctr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None/>
              <a:defRPr sz="1800">
                <a:solidFill>
                  <a:schemeClr val="tx2"/>
                </a:solidFill>
              </a:defRPr>
            </a:lvl1pPr>
            <a:lvl2pPr marL="179387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2pPr>
            <a:lvl3pPr marL="358775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3pPr>
            <a:lvl4pPr marL="538162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4pPr>
            <a:lvl5pPr marL="717550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de-DE" dirty="0"/>
              <a:t>Name Vorname</a:t>
            </a: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BFBDAF25-60CF-4144-A31E-8045D62C5889}"/>
              </a:ext>
            </a:extLst>
          </p:cNvPr>
          <p:cNvCxnSpPr/>
          <p:nvPr/>
        </p:nvCxnSpPr>
        <p:spPr>
          <a:xfrm>
            <a:off x="2606895" y="5285470"/>
            <a:ext cx="776924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620891A4-FAAB-4A12-8E33-4218491AD61D}"/>
              </a:ext>
            </a:extLst>
          </p:cNvPr>
          <p:cNvCxnSpPr/>
          <p:nvPr/>
        </p:nvCxnSpPr>
        <p:spPr>
          <a:xfrm>
            <a:off x="5692676" y="5285470"/>
            <a:ext cx="776924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7BE24F11-9E46-4CA2-BC1A-6DF4DADC55EF}"/>
              </a:ext>
            </a:extLst>
          </p:cNvPr>
          <p:cNvCxnSpPr/>
          <p:nvPr/>
        </p:nvCxnSpPr>
        <p:spPr>
          <a:xfrm>
            <a:off x="8778457" y="5285470"/>
            <a:ext cx="776924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097A7AA4-8DA2-4982-BC1F-99E109C6AFE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1591112" y="5415551"/>
            <a:ext cx="2808490" cy="215444"/>
          </a:xfrm>
        </p:spPr>
        <p:txBody>
          <a:bodyPr>
            <a:spAutoFit/>
          </a:bodyPr>
          <a:lstStyle>
            <a:lvl1pPr marL="0" indent="0" algn="ctr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  <a:lvl2pPr marL="179387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2pPr>
            <a:lvl3pPr marL="358775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3pPr>
            <a:lvl4pPr marL="538162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4pPr>
            <a:lvl5pPr marL="717550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545649E4-750B-43F8-BDC9-93376DA95B18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4676893" y="5415551"/>
            <a:ext cx="2808490" cy="215444"/>
          </a:xfrm>
        </p:spPr>
        <p:txBody>
          <a:bodyPr>
            <a:spAutoFit/>
          </a:bodyPr>
          <a:lstStyle>
            <a:lvl1pPr marL="0" indent="0" algn="ctr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  <a:lvl2pPr marL="179387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2pPr>
            <a:lvl3pPr marL="358775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3pPr>
            <a:lvl4pPr marL="538162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4pPr>
            <a:lvl5pPr marL="717550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32D02D5-6311-4BDF-BDF2-CBE002F711B7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7762674" y="5415551"/>
            <a:ext cx="2808490" cy="215444"/>
          </a:xfrm>
        </p:spPr>
        <p:txBody>
          <a:bodyPr>
            <a:spAutoFit/>
          </a:bodyPr>
          <a:lstStyle>
            <a:lvl1pPr marL="0" indent="0" algn="ctr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  <a:lvl2pPr marL="179387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2pPr>
            <a:lvl3pPr marL="358775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3pPr>
            <a:lvl4pPr marL="538162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4pPr>
            <a:lvl5pPr marL="717550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3" name="btfpLayoutConfig" hidden="1">
            <a:extLst>
              <a:ext uri="{FF2B5EF4-FFF2-40B4-BE49-F238E27FC236}">
                <a16:creationId xmlns:a16="http://schemas.microsoft.com/office/drawing/2014/main" id="{49CC0780-4436-4E6B-B509-852034B5CE88}"/>
              </a:ext>
            </a:extLst>
          </p:cNvPr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de-DE" sz="100">
                <a:solidFill>
                  <a:srgbClr val="FFFFFF">
                    <a:alpha val="0"/>
                  </a:srgbClr>
                </a:solidFill>
              </a:rPr>
              <a:t>overall_0_132059440482315557 columns_1_132059440482315557 </a:t>
            </a:r>
            <a:endParaRPr lang="de-DE" sz="100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24" name="Rectangle 36">
            <a:extLst>
              <a:ext uri="{FF2B5EF4-FFF2-40B4-BE49-F238E27FC236}">
                <a16:creationId xmlns:a16="http://schemas.microsoft.com/office/drawing/2014/main" id="{4095DAD6-F652-4376-AAE9-34CAFC918F39}"/>
              </a:ext>
            </a:extLst>
          </p:cNvPr>
          <p:cNvSpPr/>
          <p:nvPr/>
        </p:nvSpPr>
        <p:spPr>
          <a:xfrm>
            <a:off x="1591112" y="4581728"/>
            <a:ext cx="2808490" cy="3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5" name="Rectangle 41">
            <a:extLst>
              <a:ext uri="{FF2B5EF4-FFF2-40B4-BE49-F238E27FC236}">
                <a16:creationId xmlns:a16="http://schemas.microsoft.com/office/drawing/2014/main" id="{DE594DA4-C5E5-4CD9-B24B-1E2263BD1BC5}"/>
              </a:ext>
            </a:extLst>
          </p:cNvPr>
          <p:cNvSpPr/>
          <p:nvPr/>
        </p:nvSpPr>
        <p:spPr>
          <a:xfrm>
            <a:off x="4676893" y="4581728"/>
            <a:ext cx="2808490" cy="36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6" name="Rectangle 48">
            <a:extLst>
              <a:ext uri="{FF2B5EF4-FFF2-40B4-BE49-F238E27FC236}">
                <a16:creationId xmlns:a16="http://schemas.microsoft.com/office/drawing/2014/main" id="{4EB2415C-F3C5-4565-8FD4-03ADE7F25479}"/>
              </a:ext>
            </a:extLst>
          </p:cNvPr>
          <p:cNvSpPr/>
          <p:nvPr/>
        </p:nvSpPr>
        <p:spPr>
          <a:xfrm>
            <a:off x="7762674" y="4581728"/>
            <a:ext cx="2808490" cy="3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7" name="Title 1"/>
          <p:cNvSpPr>
            <a:spLocks noGrp="1"/>
          </p:cNvSpPr>
          <p:nvPr>
            <p:ph type="title"/>
          </p:nvPr>
        </p:nvSpPr>
        <p:spPr>
          <a:xfrm>
            <a:off x="731838" y="552420"/>
            <a:ext cx="10728325" cy="523220"/>
          </a:xfrm>
        </p:spPr>
        <p:txBody>
          <a:bodyPr lIns="0" tIns="0" rIns="0" bIns="0" anchor="b">
            <a:spAutoFit/>
          </a:bodyPr>
          <a:lstStyle>
            <a:lvl1pPr algn="ctr">
              <a:lnSpc>
                <a:spcPct val="100000"/>
              </a:lnSpc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365174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1117">
          <p15:clr>
            <a:srgbClr val="FBAE40"/>
          </p15:clr>
        </p15:guide>
        <p15:guide id="4" orient="horz" pos="3861">
          <p15:clr>
            <a:srgbClr val="FBAE40"/>
          </p15:clr>
        </p15:guide>
        <p15:guide id="5" pos="461">
          <p15:clr>
            <a:srgbClr val="FBAE40"/>
          </p15:clr>
        </p15:guide>
        <p15:guide id="6" pos="7219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DCF6EDC-F177-4B01-8E9B-EAB815736A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84289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DCF6EDC-F177-4B01-8E9B-EAB815736A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9" name="Rectangle 9">
            <a:extLst>
              <a:ext uri="{FF2B5EF4-FFF2-40B4-BE49-F238E27FC236}">
                <a16:creationId xmlns:a16="http://schemas.microsoft.com/office/drawing/2014/main" id="{B9191ACD-39F2-4858-AF32-A85AA2B89004}"/>
              </a:ext>
            </a:extLst>
          </p:cNvPr>
          <p:cNvSpPr>
            <a:spLocks/>
          </p:cNvSpPr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0">
            <a:gsLst>
              <a:gs pos="0">
                <a:schemeClr val="accent6"/>
              </a:gs>
              <a:gs pos="100000">
                <a:schemeClr val="accent6">
                  <a:alpha val="70000"/>
                  <a:lumMod val="54000"/>
                </a:schemeClr>
              </a:gs>
            </a:gsLst>
            <a:lin ang="6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pSp>
        <p:nvGrpSpPr>
          <p:cNvPr id="11" name="Group 13">
            <a:extLst>
              <a:ext uri="{FF2B5EF4-FFF2-40B4-BE49-F238E27FC236}">
                <a16:creationId xmlns:a16="http://schemas.microsoft.com/office/drawing/2014/main" id="{7982485C-08D2-4D4C-A6EE-DA380C242422}"/>
              </a:ext>
            </a:extLst>
          </p:cNvPr>
          <p:cNvGrpSpPr>
            <a:grpSpLocks/>
          </p:cNvGrpSpPr>
          <p:nvPr/>
        </p:nvGrpSpPr>
        <p:grpSpPr>
          <a:xfrm>
            <a:off x="3806758" y="2110902"/>
            <a:ext cx="4578486" cy="2636198"/>
            <a:chOff x="1558925" y="4192858"/>
            <a:chExt cx="9235455" cy="5374888"/>
          </a:xfrm>
        </p:grpSpPr>
        <p:cxnSp>
          <p:nvCxnSpPr>
            <p:cNvPr id="12" name="Straight Connector 15">
              <a:extLst>
                <a:ext uri="{FF2B5EF4-FFF2-40B4-BE49-F238E27FC236}">
                  <a16:creationId xmlns:a16="http://schemas.microsoft.com/office/drawing/2014/main" id="{1077DEA6-70F3-4526-A874-46FA3436FB95}"/>
                </a:ext>
              </a:extLst>
            </p:cNvPr>
            <p:cNvCxnSpPr/>
            <p:nvPr/>
          </p:nvCxnSpPr>
          <p:spPr>
            <a:xfrm>
              <a:off x="1558925" y="9567746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6">
              <a:extLst>
                <a:ext uri="{FF2B5EF4-FFF2-40B4-BE49-F238E27FC236}">
                  <a16:creationId xmlns:a16="http://schemas.microsoft.com/office/drawing/2014/main" id="{E7876C5B-5252-4095-864C-8F17851FED23}"/>
                </a:ext>
              </a:extLst>
            </p:cNvPr>
            <p:cNvCxnSpPr/>
            <p:nvPr/>
          </p:nvCxnSpPr>
          <p:spPr>
            <a:xfrm>
              <a:off x="1558925" y="4192858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31839" y="2700560"/>
            <a:ext cx="10728324" cy="1495794"/>
          </a:xfrm>
        </p:spPr>
        <p:txBody>
          <a:bodyPr wrap="square" lIns="0" tIns="0" rIns="0" bIns="0" anchor="ctr">
            <a:noAutofit/>
          </a:bodyPr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/>
              <a:t>Abschlussfolie</a:t>
            </a:r>
            <a:endParaRPr lang="de-DE" dirty="0"/>
          </a:p>
        </p:txBody>
      </p:sp>
      <p:sp>
        <p:nvSpPr>
          <p:cNvPr id="3" name="btfpLayoutConfig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de-DE" sz="100" dirty="0">
                <a:solidFill>
                  <a:srgbClr val="FFFFFF">
                    <a:alpha val="0"/>
                  </a:srgbClr>
                </a:solidFill>
              </a:rPr>
              <a:t>overall_0_132077611449449403 columns_1_132077611449449403 </a:t>
            </a:r>
          </a:p>
        </p:txBody>
      </p:sp>
      <p:pic>
        <p:nvPicPr>
          <p:cNvPr id="15" name="Picture 507" descr="\\LEG001\dat_a_uk\LEG-Darstellung\Logo\_LEG-Logo\_LEG Logo\_LEG_Englisch\LEG_Logo_4c_englisch.gif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5028" y="0"/>
            <a:ext cx="2072972" cy="1041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88861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_blau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DCF6EDC-F177-4B01-8E9B-EAB815736A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9878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DCF6EDC-F177-4B01-8E9B-EAB815736A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31839" y="2710789"/>
            <a:ext cx="10728324" cy="830997"/>
          </a:xfrm>
        </p:spPr>
        <p:txBody>
          <a:bodyPr wrap="square" lIns="0" tIns="0" rIns="0" bIns="0" anchor="ctr">
            <a:spAutoFit/>
          </a:bodyPr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/>
              <a:t>Titelfolie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31839" y="3709040"/>
            <a:ext cx="10728324" cy="307777"/>
          </a:xfr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Untertitel</a:t>
            </a:r>
            <a:endParaRPr lang="de-DE" dirty="0"/>
          </a:p>
        </p:txBody>
      </p:sp>
      <p:grpSp>
        <p:nvGrpSpPr>
          <p:cNvPr id="11" name="Group 13">
            <a:extLst>
              <a:ext uri="{FF2B5EF4-FFF2-40B4-BE49-F238E27FC236}">
                <a16:creationId xmlns:a16="http://schemas.microsoft.com/office/drawing/2014/main" id="{1640DA54-2D07-45E9-B888-3B5855200387}"/>
              </a:ext>
            </a:extLst>
          </p:cNvPr>
          <p:cNvGrpSpPr>
            <a:grpSpLocks/>
          </p:cNvGrpSpPr>
          <p:nvPr/>
        </p:nvGrpSpPr>
        <p:grpSpPr>
          <a:xfrm>
            <a:off x="3806758" y="2110902"/>
            <a:ext cx="4578486" cy="2636198"/>
            <a:chOff x="1558925" y="4192858"/>
            <a:chExt cx="9235455" cy="5374888"/>
          </a:xfrm>
        </p:grpSpPr>
        <p:cxnSp>
          <p:nvCxnSpPr>
            <p:cNvPr id="12" name="Straight Connector 15">
              <a:extLst>
                <a:ext uri="{FF2B5EF4-FFF2-40B4-BE49-F238E27FC236}">
                  <a16:creationId xmlns:a16="http://schemas.microsoft.com/office/drawing/2014/main" id="{74011556-4059-4380-B7A9-162E6E6C3CC4}"/>
                </a:ext>
              </a:extLst>
            </p:cNvPr>
            <p:cNvCxnSpPr/>
            <p:nvPr/>
          </p:nvCxnSpPr>
          <p:spPr>
            <a:xfrm>
              <a:off x="1558925" y="9567746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6">
              <a:extLst>
                <a:ext uri="{FF2B5EF4-FFF2-40B4-BE49-F238E27FC236}">
                  <a16:creationId xmlns:a16="http://schemas.microsoft.com/office/drawing/2014/main" id="{F1374D04-108E-42AF-8188-EFBD3D85137F}"/>
                </a:ext>
              </a:extLst>
            </p:cNvPr>
            <p:cNvCxnSpPr/>
            <p:nvPr/>
          </p:nvCxnSpPr>
          <p:spPr>
            <a:xfrm>
              <a:off x="1558925" y="4192858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Picture 507" descr="\\LEG001\dat_a_uk\LEG-Darstellung\Logo\_LEG-Logo\_LEG Logo\_LEG_Englisch\LEG_Logo_4c_englisch.gif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5028" y="0"/>
            <a:ext cx="2072972" cy="1041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5811338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er_ohne Strich_Ausnah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2213164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13.02.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9782719" cy="153888"/>
          </a:xfrm>
        </p:spPr>
        <p:txBody>
          <a:bodyPr lIns="0" tIns="0" rIns="0" bIns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C31F6BF0-11B6-44E7-8396-A4C4CF06E29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65682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64">
          <p15:clr>
            <a:srgbClr val="CCCCCC"/>
          </p15:clr>
        </p15:guide>
        <p15:guide id="2" pos="7216">
          <p15:clr>
            <a:srgbClr val="CCCCCC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3_einspaltig_univer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9"/>
          <p:cNvSpPr>
            <a:spLocks noGrp="1" noChangeAspect="1"/>
          </p:cNvSpPr>
          <p:nvPr>
            <p:ph sz="quarter" idx="13" hasCustomPrompt="1"/>
          </p:nvPr>
        </p:nvSpPr>
        <p:spPr>
          <a:xfrm>
            <a:off x="429684" y="2088000"/>
            <a:ext cx="11332635" cy="3600000"/>
          </a:xfrm>
        </p:spPr>
        <p:txBody>
          <a:bodyPr/>
          <a:lstStyle>
            <a:lvl1pPr marL="180975" indent="-180975">
              <a:spcAft>
                <a:spcPts val="0"/>
              </a:spcAft>
              <a:buFont typeface="Arial" pitchFamily="34" charset="0"/>
              <a:buChar char="•"/>
              <a:defRPr baseline="0"/>
            </a:lvl1pPr>
            <a:lvl2pPr marL="468000" indent="-180000">
              <a:spcAft>
                <a:spcPts val="0"/>
              </a:spcAft>
              <a:buClr>
                <a:srgbClr val="0089C1"/>
              </a:buClr>
              <a:buFont typeface="Arial" pitchFamily="34" charset="0"/>
              <a:buChar char="•"/>
              <a:defRPr/>
            </a:lvl2pPr>
            <a:lvl3pPr marL="714375" indent="-171450">
              <a:spcAft>
                <a:spcPts val="0"/>
              </a:spcAft>
              <a:buClr>
                <a:srgbClr val="0089C1"/>
              </a:buClr>
              <a:buFont typeface="Arial" pitchFamily="34" charset="0"/>
              <a:buChar char="•"/>
              <a:defRPr/>
            </a:lvl3pPr>
            <a:lvl4pPr marL="990600" indent="-180975">
              <a:buFont typeface="Arial" pitchFamily="34" charset="0"/>
              <a:buChar char="•"/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Textblock/Objekt/Tabell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002" y="1368000"/>
            <a:ext cx="11330318" cy="396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Überschrift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dirty="0"/>
              <a:t>13.02.2025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DE83F2-9BAC-4347-94BA-19F582A66EF9}" type="slidenum">
              <a:rPr lang="de-DE" smtClean="0"/>
              <a:t>‹Nr.›</a:t>
            </a:fld>
            <a:endParaRPr lang="de-DE"/>
          </a:p>
        </p:txBody>
      </p:sp>
      <p:sp>
        <p:nvSpPr>
          <p:cNvPr id="11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1799" y="323850"/>
            <a:ext cx="6912000" cy="396000"/>
          </a:xfrm>
        </p:spPr>
        <p:txBody>
          <a:bodyPr/>
          <a:lstStyle>
            <a:lvl1pPr marL="0" indent="0">
              <a:buNone/>
              <a:defRPr sz="13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Name des Abschnitts (optional)</a:t>
            </a:r>
          </a:p>
        </p:txBody>
      </p:sp>
    </p:spTree>
    <p:extLst>
      <p:ext uri="{BB962C8B-B14F-4D97-AF65-F5344CB8AC3E}">
        <p14:creationId xmlns:p14="http://schemas.microsoft.com/office/powerpoint/2010/main" val="1971738626"/>
      </p:ext>
    </p:extLst>
  </p:cSld>
  <p:clrMapOvr>
    <a:masterClrMapping/>
  </p:clrMapOvr>
  <p:transition spd="slow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13.02.2025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A32D0C-9182-43C1-9C26-D363809C540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261489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13.02.2025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A32D0C-9182-43C1-9C26-D363809C540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8191905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_Bild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fik 15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11" name="Rectangle 9">
            <a:extLst>
              <a:ext uri="{FF2B5EF4-FFF2-40B4-BE49-F238E27FC236}">
                <a16:creationId xmlns:a16="http://schemas.microsoft.com/office/drawing/2014/main" id="{4541E539-82D7-4793-8E2B-715C223E3C8C}"/>
              </a:ext>
            </a:extLst>
          </p:cNvPr>
          <p:cNvSpPr>
            <a:spLocks/>
          </p:cNvSpPr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0">
            <a:gsLst>
              <a:gs pos="0">
                <a:schemeClr val="accent6"/>
              </a:gs>
              <a:gs pos="100000">
                <a:schemeClr val="accent6">
                  <a:alpha val="70000"/>
                  <a:lumMod val="54000"/>
                </a:schemeClr>
              </a:gs>
            </a:gsLst>
            <a:lin ang="6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DCF6EDC-F177-4B01-8E9B-EAB815736A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98988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DCF6EDC-F177-4B01-8E9B-EAB815736A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oup 13">
            <a:extLst>
              <a:ext uri="{FF2B5EF4-FFF2-40B4-BE49-F238E27FC236}">
                <a16:creationId xmlns:a16="http://schemas.microsoft.com/office/drawing/2014/main" id="{06CA8790-D3EA-407F-8B2E-0E297C528B23}"/>
              </a:ext>
            </a:extLst>
          </p:cNvPr>
          <p:cNvGrpSpPr>
            <a:grpSpLocks/>
          </p:cNvGrpSpPr>
          <p:nvPr/>
        </p:nvGrpSpPr>
        <p:grpSpPr>
          <a:xfrm>
            <a:off x="3806758" y="2110902"/>
            <a:ext cx="4578486" cy="2636198"/>
            <a:chOff x="1558925" y="4192858"/>
            <a:chExt cx="9235455" cy="5374888"/>
          </a:xfrm>
        </p:grpSpPr>
        <p:cxnSp>
          <p:nvCxnSpPr>
            <p:cNvPr id="13" name="Straight Connector 15">
              <a:extLst>
                <a:ext uri="{FF2B5EF4-FFF2-40B4-BE49-F238E27FC236}">
                  <a16:creationId xmlns:a16="http://schemas.microsoft.com/office/drawing/2014/main" id="{F02951C3-9DBC-4B82-9BB7-69BA5DAA6302}"/>
                </a:ext>
              </a:extLst>
            </p:cNvPr>
            <p:cNvCxnSpPr/>
            <p:nvPr/>
          </p:nvCxnSpPr>
          <p:spPr>
            <a:xfrm>
              <a:off x="1558925" y="9567746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6">
              <a:extLst>
                <a:ext uri="{FF2B5EF4-FFF2-40B4-BE49-F238E27FC236}">
                  <a16:creationId xmlns:a16="http://schemas.microsoft.com/office/drawing/2014/main" id="{1BD4A5A7-FF45-4B1A-8202-0C3CE0AA2879}"/>
                </a:ext>
              </a:extLst>
            </p:cNvPr>
            <p:cNvCxnSpPr/>
            <p:nvPr/>
          </p:nvCxnSpPr>
          <p:spPr>
            <a:xfrm>
              <a:off x="1558925" y="4192858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31839" y="2710789"/>
            <a:ext cx="10728324" cy="830997"/>
          </a:xfrm>
        </p:spPr>
        <p:txBody>
          <a:bodyPr wrap="square" lIns="0" tIns="0" rIns="0" bIns="0" anchor="ctr">
            <a:spAutoFit/>
          </a:bodyPr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/>
              <a:t>Titelfolie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31839" y="3709040"/>
            <a:ext cx="10728324" cy="307777"/>
          </a:xfr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Untertitel</a:t>
            </a:r>
            <a:endParaRPr lang="de-DE" dirty="0"/>
          </a:p>
        </p:txBody>
      </p:sp>
      <p:pic>
        <p:nvPicPr>
          <p:cNvPr id="17" name="Picture 2" descr="T:\LEG-Darstellung\Power_Point_Praesentation\_MASTER\Logos\LEG_Logo_4c_de.gif">
            <a:extLst>
              <a:ext uri="{FF2B5EF4-FFF2-40B4-BE49-F238E27FC236}">
                <a16:creationId xmlns:a16="http://schemas.microsoft.com/office/drawing/2014/main" id="{7A763C01-87B5-4509-B7D4-09882834DD74}"/>
              </a:ext>
            </a:extLst>
          </p:cNvPr>
          <p:cNvPicPr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5028" y="0"/>
            <a:ext cx="2072972" cy="1041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echteck 20">
            <a:extLst>
              <a:ext uri="{FF2B5EF4-FFF2-40B4-BE49-F238E27FC236}">
                <a16:creationId xmlns:a16="http://schemas.microsoft.com/office/drawing/2014/main" id="{A0A29180-627F-4549-B520-E6568305CD9C}"/>
              </a:ext>
            </a:extLst>
          </p:cNvPr>
          <p:cNvSpPr/>
          <p:nvPr/>
        </p:nvSpPr>
        <p:spPr>
          <a:xfrm>
            <a:off x="12432704" y="18728"/>
            <a:ext cx="1620000" cy="646331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algn="l"/>
            <a:r>
              <a:rPr lang="en-GB" sz="1200" b="1" dirty="0" err="1">
                <a:solidFill>
                  <a:schemeClr val="bg1"/>
                </a:solidFill>
              </a:rPr>
              <a:t>Bild</a:t>
            </a:r>
            <a:r>
              <a:rPr lang="en-GB" sz="1200" b="1" dirty="0">
                <a:solidFill>
                  <a:schemeClr val="bg1"/>
                </a:solidFill>
              </a:rPr>
              <a:t> </a:t>
            </a:r>
            <a:r>
              <a:rPr lang="en-GB" sz="1200" b="1" dirty="0" err="1">
                <a:solidFill>
                  <a:schemeClr val="bg1"/>
                </a:solidFill>
              </a:rPr>
              <a:t>tauschen</a:t>
            </a:r>
            <a:r>
              <a:rPr lang="en-GB" sz="1200" b="0" dirty="0">
                <a:solidFill>
                  <a:schemeClr val="bg1"/>
                </a:solidFill>
              </a:rPr>
              <a:t>?</a:t>
            </a:r>
            <a:endParaRPr lang="en-GB" sz="1200" dirty="0">
              <a:solidFill>
                <a:schemeClr val="bg1"/>
              </a:solidFill>
            </a:endParaRPr>
          </a:p>
          <a:p>
            <a:pPr algn="l"/>
            <a:r>
              <a:rPr lang="en-GB" sz="1200" dirty="0">
                <a:solidFill>
                  <a:schemeClr val="bg1"/>
                </a:solidFill>
              </a:rPr>
              <a:t>&gt; </a:t>
            </a:r>
            <a:r>
              <a:rPr lang="en-GB" sz="1200" dirty="0" err="1">
                <a:solidFill>
                  <a:schemeClr val="bg1"/>
                </a:solidFill>
              </a:rPr>
              <a:t>Bitte</a:t>
            </a:r>
            <a:r>
              <a:rPr lang="en-GB" sz="1200" dirty="0">
                <a:solidFill>
                  <a:schemeClr val="bg1"/>
                </a:solidFill>
              </a:rPr>
              <a:t> </a:t>
            </a:r>
            <a:r>
              <a:rPr lang="en-GB" sz="1200" dirty="0" err="1">
                <a:solidFill>
                  <a:schemeClr val="bg1"/>
                </a:solidFill>
              </a:rPr>
              <a:t>melden</a:t>
            </a:r>
            <a:r>
              <a:rPr lang="en-GB" sz="1200" dirty="0">
                <a:solidFill>
                  <a:schemeClr val="bg1"/>
                </a:solidFill>
              </a:rPr>
              <a:t> </a:t>
            </a:r>
            <a:r>
              <a:rPr lang="en-GB" sz="1200" dirty="0" err="1">
                <a:solidFill>
                  <a:schemeClr val="bg1"/>
                </a:solidFill>
              </a:rPr>
              <a:t>Sie</a:t>
            </a:r>
            <a:r>
              <a:rPr lang="en-GB" sz="1200" dirty="0">
                <a:solidFill>
                  <a:schemeClr val="bg1"/>
                </a:solidFill>
              </a:rPr>
              <a:t> </a:t>
            </a:r>
            <a:r>
              <a:rPr lang="en-GB" sz="1200" dirty="0" err="1">
                <a:solidFill>
                  <a:schemeClr val="bg1"/>
                </a:solidFill>
              </a:rPr>
              <a:t>sich</a:t>
            </a:r>
            <a:r>
              <a:rPr lang="en-GB" sz="1200" dirty="0">
                <a:solidFill>
                  <a:schemeClr val="bg1"/>
                </a:solidFill>
              </a:rPr>
              <a:t> </a:t>
            </a:r>
            <a:r>
              <a:rPr lang="en-GB" sz="1200" dirty="0" err="1">
                <a:solidFill>
                  <a:schemeClr val="bg1"/>
                </a:solidFill>
              </a:rPr>
              <a:t>bei</a:t>
            </a:r>
            <a:r>
              <a:rPr lang="en-GB" sz="1200" dirty="0">
                <a:solidFill>
                  <a:schemeClr val="bg1"/>
                </a:solidFill>
              </a:rPr>
              <a:t> UK</a:t>
            </a:r>
          </a:p>
        </p:txBody>
      </p:sp>
    </p:spTree>
    <p:extLst>
      <p:ext uri="{BB962C8B-B14F-4D97-AF65-F5344CB8AC3E}">
        <p14:creationId xmlns:p14="http://schemas.microsoft.com/office/powerpoint/2010/main" val="6274488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_Bild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DCF6EDC-F177-4B01-8E9B-EAB815736A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6600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DCF6EDC-F177-4B01-8E9B-EAB815736A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9" name="Rectangle 9">
            <a:extLst>
              <a:ext uri="{FF2B5EF4-FFF2-40B4-BE49-F238E27FC236}">
                <a16:creationId xmlns:a16="http://schemas.microsoft.com/office/drawing/2014/main" id="{3B4F93D6-E492-4591-9B35-3D96671D505F}"/>
              </a:ext>
            </a:extLst>
          </p:cNvPr>
          <p:cNvSpPr>
            <a:spLocks/>
          </p:cNvSpPr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0">
            <a:gsLst>
              <a:gs pos="0">
                <a:schemeClr val="accent6"/>
              </a:gs>
              <a:gs pos="100000">
                <a:schemeClr val="accent6">
                  <a:alpha val="70000"/>
                  <a:lumMod val="54000"/>
                </a:schemeClr>
              </a:gs>
            </a:gsLst>
            <a:lin ang="6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pSp>
        <p:nvGrpSpPr>
          <p:cNvPr id="11" name="Group 13">
            <a:extLst>
              <a:ext uri="{FF2B5EF4-FFF2-40B4-BE49-F238E27FC236}">
                <a16:creationId xmlns:a16="http://schemas.microsoft.com/office/drawing/2014/main" id="{41E6A50A-2569-49B6-A1C6-3DBFCB0FC74E}"/>
              </a:ext>
            </a:extLst>
          </p:cNvPr>
          <p:cNvGrpSpPr>
            <a:grpSpLocks/>
          </p:cNvGrpSpPr>
          <p:nvPr/>
        </p:nvGrpSpPr>
        <p:grpSpPr>
          <a:xfrm>
            <a:off x="3806758" y="2110902"/>
            <a:ext cx="4578486" cy="2636198"/>
            <a:chOff x="1558925" y="4192858"/>
            <a:chExt cx="9235455" cy="5374888"/>
          </a:xfrm>
        </p:grpSpPr>
        <p:cxnSp>
          <p:nvCxnSpPr>
            <p:cNvPr id="12" name="Straight Connector 15">
              <a:extLst>
                <a:ext uri="{FF2B5EF4-FFF2-40B4-BE49-F238E27FC236}">
                  <a16:creationId xmlns:a16="http://schemas.microsoft.com/office/drawing/2014/main" id="{8F8B5879-3090-42F7-B038-05342ECFA3F6}"/>
                </a:ext>
              </a:extLst>
            </p:cNvPr>
            <p:cNvCxnSpPr/>
            <p:nvPr/>
          </p:nvCxnSpPr>
          <p:spPr>
            <a:xfrm>
              <a:off x="1558925" y="9567746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6">
              <a:extLst>
                <a:ext uri="{FF2B5EF4-FFF2-40B4-BE49-F238E27FC236}">
                  <a16:creationId xmlns:a16="http://schemas.microsoft.com/office/drawing/2014/main" id="{CBC67250-CF7B-4601-8223-0CFEA938740F}"/>
                </a:ext>
              </a:extLst>
            </p:cNvPr>
            <p:cNvCxnSpPr/>
            <p:nvPr/>
          </p:nvCxnSpPr>
          <p:spPr>
            <a:xfrm>
              <a:off x="1558925" y="4192858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31839" y="2700560"/>
            <a:ext cx="10728324" cy="1495794"/>
          </a:xfrm>
        </p:spPr>
        <p:txBody>
          <a:bodyPr wrap="square" lIns="0" tIns="0" rIns="0" bIns="0" anchor="ctr">
            <a:noAutofit/>
          </a:bodyPr>
          <a:lstStyle>
            <a:lvl1pPr algn="ctr">
              <a:lnSpc>
                <a:spcPct val="10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folie</a:t>
            </a:r>
          </a:p>
        </p:txBody>
      </p:sp>
      <p:pic>
        <p:nvPicPr>
          <p:cNvPr id="10" name="Picture 2" descr="T:\LEG-Darstellung\Power_Point_Praesentation\_MASTER\Logos\LEG_Logo_4c_de.gif">
            <a:extLst>
              <a:ext uri="{FF2B5EF4-FFF2-40B4-BE49-F238E27FC236}">
                <a16:creationId xmlns:a16="http://schemas.microsoft.com/office/drawing/2014/main" id="{ECE5DBBC-33C7-4E27-9F80-4715D4C36FAA}"/>
              </a:ext>
            </a:extLst>
          </p:cNvPr>
          <p:cNvPicPr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5028" y="0"/>
            <a:ext cx="2072972" cy="1041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hteck 14">
            <a:extLst>
              <a:ext uri="{FF2B5EF4-FFF2-40B4-BE49-F238E27FC236}">
                <a16:creationId xmlns:a16="http://schemas.microsoft.com/office/drawing/2014/main" id="{A0A29180-627F-4549-B520-E6568305CD9C}"/>
              </a:ext>
            </a:extLst>
          </p:cNvPr>
          <p:cNvSpPr/>
          <p:nvPr/>
        </p:nvSpPr>
        <p:spPr>
          <a:xfrm>
            <a:off x="12432704" y="18728"/>
            <a:ext cx="1620000" cy="646331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algn="l"/>
            <a:r>
              <a:rPr lang="en-GB" sz="1200" b="1" dirty="0" err="1">
                <a:solidFill>
                  <a:schemeClr val="bg1"/>
                </a:solidFill>
              </a:rPr>
              <a:t>Bild</a:t>
            </a:r>
            <a:r>
              <a:rPr lang="en-GB" sz="1200" b="1" dirty="0">
                <a:solidFill>
                  <a:schemeClr val="bg1"/>
                </a:solidFill>
              </a:rPr>
              <a:t> </a:t>
            </a:r>
            <a:r>
              <a:rPr lang="en-GB" sz="1200" b="1" dirty="0" err="1">
                <a:solidFill>
                  <a:schemeClr val="bg1"/>
                </a:solidFill>
              </a:rPr>
              <a:t>tauschen</a:t>
            </a:r>
            <a:r>
              <a:rPr lang="en-GB" sz="1200" b="0" dirty="0">
                <a:solidFill>
                  <a:schemeClr val="bg1"/>
                </a:solidFill>
              </a:rPr>
              <a:t>?</a:t>
            </a:r>
            <a:endParaRPr lang="en-GB" sz="1200" dirty="0">
              <a:solidFill>
                <a:schemeClr val="bg1"/>
              </a:solidFill>
            </a:endParaRPr>
          </a:p>
          <a:p>
            <a:pPr algn="l"/>
            <a:r>
              <a:rPr lang="en-GB" sz="1200" dirty="0">
                <a:solidFill>
                  <a:schemeClr val="bg1"/>
                </a:solidFill>
              </a:rPr>
              <a:t>&gt; </a:t>
            </a:r>
            <a:r>
              <a:rPr lang="en-GB" sz="1200" dirty="0" err="1">
                <a:solidFill>
                  <a:schemeClr val="bg1"/>
                </a:solidFill>
              </a:rPr>
              <a:t>Bitte</a:t>
            </a:r>
            <a:r>
              <a:rPr lang="en-GB" sz="1200" dirty="0">
                <a:solidFill>
                  <a:schemeClr val="bg1"/>
                </a:solidFill>
              </a:rPr>
              <a:t> </a:t>
            </a:r>
            <a:r>
              <a:rPr lang="en-GB" sz="1200" dirty="0" err="1">
                <a:solidFill>
                  <a:schemeClr val="bg1"/>
                </a:solidFill>
              </a:rPr>
              <a:t>melden</a:t>
            </a:r>
            <a:r>
              <a:rPr lang="en-GB" sz="1200" dirty="0">
                <a:solidFill>
                  <a:schemeClr val="bg1"/>
                </a:solidFill>
              </a:rPr>
              <a:t> </a:t>
            </a:r>
            <a:r>
              <a:rPr lang="en-GB" sz="1200" dirty="0" err="1">
                <a:solidFill>
                  <a:schemeClr val="bg1"/>
                </a:solidFill>
              </a:rPr>
              <a:t>Sie</a:t>
            </a:r>
            <a:r>
              <a:rPr lang="en-GB" sz="1200" dirty="0">
                <a:solidFill>
                  <a:schemeClr val="bg1"/>
                </a:solidFill>
              </a:rPr>
              <a:t> </a:t>
            </a:r>
            <a:r>
              <a:rPr lang="en-GB" sz="1200" dirty="0" err="1">
                <a:solidFill>
                  <a:schemeClr val="bg1"/>
                </a:solidFill>
              </a:rPr>
              <a:t>sich</a:t>
            </a:r>
            <a:r>
              <a:rPr lang="en-GB" sz="1200" dirty="0">
                <a:solidFill>
                  <a:schemeClr val="bg1"/>
                </a:solidFill>
              </a:rPr>
              <a:t> </a:t>
            </a:r>
            <a:r>
              <a:rPr lang="en-GB" sz="1200" dirty="0" err="1">
                <a:solidFill>
                  <a:schemeClr val="bg1"/>
                </a:solidFill>
              </a:rPr>
              <a:t>bei</a:t>
            </a:r>
            <a:r>
              <a:rPr lang="en-GB" sz="1200" dirty="0">
                <a:solidFill>
                  <a:schemeClr val="bg1"/>
                </a:solidFill>
              </a:rPr>
              <a:t> UK</a:t>
            </a:r>
          </a:p>
        </p:txBody>
      </p:sp>
    </p:spTree>
    <p:extLst>
      <p:ext uri="{BB962C8B-B14F-4D97-AF65-F5344CB8AC3E}">
        <p14:creationId xmlns:p14="http://schemas.microsoft.com/office/powerpoint/2010/main" val="372174810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_blau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DCF6EDC-F177-4B01-8E9B-EAB815736A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5472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DCF6EDC-F177-4B01-8E9B-EAB815736A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31839" y="2710789"/>
            <a:ext cx="10728324" cy="830997"/>
          </a:xfrm>
        </p:spPr>
        <p:txBody>
          <a:bodyPr wrap="square" lIns="0" tIns="0" rIns="0" bIns="0" anchor="ctr">
            <a:spAutoFit/>
          </a:bodyPr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/>
              <a:t>Titelfolie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31839" y="3709040"/>
            <a:ext cx="10728324" cy="307777"/>
          </a:xfr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Untertitel</a:t>
            </a:r>
            <a:endParaRPr lang="de-DE" dirty="0"/>
          </a:p>
        </p:txBody>
      </p:sp>
      <p:grpSp>
        <p:nvGrpSpPr>
          <p:cNvPr id="11" name="Group 13">
            <a:extLst>
              <a:ext uri="{FF2B5EF4-FFF2-40B4-BE49-F238E27FC236}">
                <a16:creationId xmlns:a16="http://schemas.microsoft.com/office/drawing/2014/main" id="{1640DA54-2D07-45E9-B888-3B5855200387}"/>
              </a:ext>
            </a:extLst>
          </p:cNvPr>
          <p:cNvGrpSpPr>
            <a:grpSpLocks/>
          </p:cNvGrpSpPr>
          <p:nvPr/>
        </p:nvGrpSpPr>
        <p:grpSpPr>
          <a:xfrm>
            <a:off x="3806758" y="2110902"/>
            <a:ext cx="4578486" cy="2636198"/>
            <a:chOff x="1558925" y="4192858"/>
            <a:chExt cx="9235455" cy="5374888"/>
          </a:xfrm>
        </p:grpSpPr>
        <p:cxnSp>
          <p:nvCxnSpPr>
            <p:cNvPr id="12" name="Straight Connector 15">
              <a:extLst>
                <a:ext uri="{FF2B5EF4-FFF2-40B4-BE49-F238E27FC236}">
                  <a16:creationId xmlns:a16="http://schemas.microsoft.com/office/drawing/2014/main" id="{74011556-4059-4380-B7A9-162E6E6C3CC4}"/>
                </a:ext>
              </a:extLst>
            </p:cNvPr>
            <p:cNvCxnSpPr/>
            <p:nvPr/>
          </p:nvCxnSpPr>
          <p:spPr>
            <a:xfrm>
              <a:off x="1558925" y="9567746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6">
              <a:extLst>
                <a:ext uri="{FF2B5EF4-FFF2-40B4-BE49-F238E27FC236}">
                  <a16:creationId xmlns:a16="http://schemas.microsoft.com/office/drawing/2014/main" id="{F1374D04-108E-42AF-8188-EFBD3D85137F}"/>
                </a:ext>
              </a:extLst>
            </p:cNvPr>
            <p:cNvCxnSpPr/>
            <p:nvPr/>
          </p:nvCxnSpPr>
          <p:spPr>
            <a:xfrm>
              <a:off x="1558925" y="4192858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" name="Picture 2" descr="T:\LEG-Darstellung\Power_Point_Praesentation\_MASTER\Logos\LEG_Logo_4c_de.gif">
            <a:extLst>
              <a:ext uri="{FF2B5EF4-FFF2-40B4-BE49-F238E27FC236}">
                <a16:creationId xmlns:a16="http://schemas.microsoft.com/office/drawing/2014/main" id="{ECE5DBBC-33C7-4E27-9F80-4715D4C36FAA}"/>
              </a:ext>
            </a:extLst>
          </p:cNvPr>
          <p:cNvPicPr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5028" y="0"/>
            <a:ext cx="2072972" cy="1041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1465484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_blau_2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DCF6EDC-F177-4B01-8E9B-EAB815736A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1452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DCF6EDC-F177-4B01-8E9B-EAB815736A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31839" y="3032958"/>
            <a:ext cx="10728324" cy="830997"/>
          </a:xfrm>
        </p:spPr>
        <p:txBody>
          <a:bodyPr wrap="square" lIns="0" tIns="0" rIns="0" bIns="0" anchor="ctr">
            <a:spAutoFit/>
          </a:bodyPr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/>
              <a:t>Titelfolie</a:t>
            </a:r>
            <a:endParaRPr lang="de-DE" dirty="0"/>
          </a:p>
        </p:txBody>
      </p:sp>
      <p:grpSp>
        <p:nvGrpSpPr>
          <p:cNvPr id="11" name="Group 13">
            <a:extLst>
              <a:ext uri="{FF2B5EF4-FFF2-40B4-BE49-F238E27FC236}">
                <a16:creationId xmlns:a16="http://schemas.microsoft.com/office/drawing/2014/main" id="{1640DA54-2D07-45E9-B888-3B5855200387}"/>
              </a:ext>
            </a:extLst>
          </p:cNvPr>
          <p:cNvGrpSpPr>
            <a:grpSpLocks/>
          </p:cNvGrpSpPr>
          <p:nvPr/>
        </p:nvGrpSpPr>
        <p:grpSpPr>
          <a:xfrm>
            <a:off x="3806758" y="2110902"/>
            <a:ext cx="4578486" cy="2636198"/>
            <a:chOff x="1558925" y="4192858"/>
            <a:chExt cx="9235455" cy="5374888"/>
          </a:xfrm>
        </p:grpSpPr>
        <p:cxnSp>
          <p:nvCxnSpPr>
            <p:cNvPr id="12" name="Straight Connector 15">
              <a:extLst>
                <a:ext uri="{FF2B5EF4-FFF2-40B4-BE49-F238E27FC236}">
                  <a16:creationId xmlns:a16="http://schemas.microsoft.com/office/drawing/2014/main" id="{74011556-4059-4380-B7A9-162E6E6C3CC4}"/>
                </a:ext>
              </a:extLst>
            </p:cNvPr>
            <p:cNvCxnSpPr/>
            <p:nvPr/>
          </p:nvCxnSpPr>
          <p:spPr>
            <a:xfrm>
              <a:off x="1558925" y="9567746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6">
              <a:extLst>
                <a:ext uri="{FF2B5EF4-FFF2-40B4-BE49-F238E27FC236}">
                  <a16:creationId xmlns:a16="http://schemas.microsoft.com/office/drawing/2014/main" id="{F1374D04-108E-42AF-8188-EFBD3D85137F}"/>
                </a:ext>
              </a:extLst>
            </p:cNvPr>
            <p:cNvCxnSpPr/>
            <p:nvPr/>
          </p:nvCxnSpPr>
          <p:spPr>
            <a:xfrm>
              <a:off x="1558925" y="4192858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" name="Picture 2" descr="T:\LEG-Darstellung\Power_Point_Praesentation\_MASTER\Logos\LEG_Logo_4c_de.gif">
            <a:extLst>
              <a:ext uri="{FF2B5EF4-FFF2-40B4-BE49-F238E27FC236}">
                <a16:creationId xmlns:a16="http://schemas.microsoft.com/office/drawing/2014/main" id="{ECE5DBBC-33C7-4E27-9F80-4715D4C36FAA}"/>
              </a:ext>
            </a:extLst>
          </p:cNvPr>
          <p:cNvPicPr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5028" y="0"/>
            <a:ext cx="2072972" cy="1041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438992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_Bild_Kar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DCF6EDC-F177-4B01-8E9B-EAB815736A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4961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DCF6EDC-F177-4B01-8E9B-EAB815736A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11" name="Rectangle 9">
            <a:extLst>
              <a:ext uri="{FF2B5EF4-FFF2-40B4-BE49-F238E27FC236}">
                <a16:creationId xmlns:a16="http://schemas.microsoft.com/office/drawing/2014/main" id="{4541E539-82D7-4793-8E2B-715C223E3C8C}"/>
              </a:ext>
            </a:extLst>
          </p:cNvPr>
          <p:cNvSpPr>
            <a:spLocks/>
          </p:cNvSpPr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0">
            <a:gsLst>
              <a:gs pos="0">
                <a:schemeClr val="accent6"/>
              </a:gs>
              <a:gs pos="100000">
                <a:schemeClr val="accent6">
                  <a:alpha val="70000"/>
                  <a:lumMod val="54000"/>
                </a:schemeClr>
              </a:gs>
            </a:gsLst>
            <a:lin ang="6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pSp>
        <p:nvGrpSpPr>
          <p:cNvPr id="12" name="Group 13">
            <a:extLst>
              <a:ext uri="{FF2B5EF4-FFF2-40B4-BE49-F238E27FC236}">
                <a16:creationId xmlns:a16="http://schemas.microsoft.com/office/drawing/2014/main" id="{06CA8790-D3EA-407F-8B2E-0E297C528B23}"/>
              </a:ext>
            </a:extLst>
          </p:cNvPr>
          <p:cNvGrpSpPr>
            <a:grpSpLocks/>
          </p:cNvGrpSpPr>
          <p:nvPr/>
        </p:nvGrpSpPr>
        <p:grpSpPr>
          <a:xfrm>
            <a:off x="3806758" y="2110902"/>
            <a:ext cx="4578486" cy="2636198"/>
            <a:chOff x="1558925" y="4192858"/>
            <a:chExt cx="9235455" cy="5374888"/>
          </a:xfrm>
        </p:grpSpPr>
        <p:cxnSp>
          <p:nvCxnSpPr>
            <p:cNvPr id="13" name="Straight Connector 15">
              <a:extLst>
                <a:ext uri="{FF2B5EF4-FFF2-40B4-BE49-F238E27FC236}">
                  <a16:creationId xmlns:a16="http://schemas.microsoft.com/office/drawing/2014/main" id="{F02951C3-9DBC-4B82-9BB7-69BA5DAA6302}"/>
                </a:ext>
              </a:extLst>
            </p:cNvPr>
            <p:cNvCxnSpPr/>
            <p:nvPr/>
          </p:nvCxnSpPr>
          <p:spPr>
            <a:xfrm>
              <a:off x="1558925" y="9567746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6">
              <a:extLst>
                <a:ext uri="{FF2B5EF4-FFF2-40B4-BE49-F238E27FC236}">
                  <a16:creationId xmlns:a16="http://schemas.microsoft.com/office/drawing/2014/main" id="{1BD4A5A7-FF45-4B1A-8202-0C3CE0AA2879}"/>
                </a:ext>
              </a:extLst>
            </p:cNvPr>
            <p:cNvCxnSpPr/>
            <p:nvPr/>
          </p:nvCxnSpPr>
          <p:spPr>
            <a:xfrm>
              <a:off x="1558925" y="4192858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31839" y="2710789"/>
            <a:ext cx="10728324" cy="830997"/>
          </a:xfrm>
        </p:spPr>
        <p:txBody>
          <a:bodyPr wrap="square" lIns="0" tIns="0" rIns="0" bIns="0" anchor="ctr">
            <a:spAutoFit/>
          </a:bodyPr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/>
              <a:t>Titelfolie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31839" y="3709040"/>
            <a:ext cx="10728324" cy="307777"/>
          </a:xfr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Untertitel</a:t>
            </a:r>
            <a:endParaRPr lang="de-DE" dirty="0"/>
          </a:p>
        </p:txBody>
      </p:sp>
      <p:pic>
        <p:nvPicPr>
          <p:cNvPr id="16" name="Picture 2" descr="T:\LEG-Darstellung\Power_Point_Praesentation\_MASTER\Logos\LEG_Logo_4c_de.gif">
            <a:extLst>
              <a:ext uri="{FF2B5EF4-FFF2-40B4-BE49-F238E27FC236}">
                <a16:creationId xmlns:a16="http://schemas.microsoft.com/office/drawing/2014/main" id="{ECE5DBBC-33C7-4E27-9F80-4715D4C36FAA}"/>
              </a:ext>
            </a:extLst>
          </p:cNvPr>
          <p:cNvPicPr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5028" y="0"/>
            <a:ext cx="2072972" cy="1041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88383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64">
          <p15:clr>
            <a:srgbClr val="CCCCCC"/>
          </p15:clr>
        </p15:guide>
        <p15:guide id="2" pos="7216">
          <p15:clr>
            <a:srgbClr val="CCCCCC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_Karte_1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DCF6EDC-F177-4B01-8E9B-EAB815736A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9219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DCF6EDC-F177-4B01-8E9B-EAB815736A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4" name="Grafik 163">
            <a:extLst>
              <a:ext uri="{FF2B5EF4-FFF2-40B4-BE49-F238E27FC236}">
                <a16:creationId xmlns:a16="http://schemas.microsoft.com/office/drawing/2014/main" id="{B61C4624-99BD-4827-A3AE-D3652286580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16092"/>
          <a:stretch/>
        </p:blipFill>
        <p:spPr>
          <a:xfrm>
            <a:off x="5565525" y="0"/>
            <a:ext cx="6626475" cy="5779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31838" y="2798506"/>
            <a:ext cx="4578486" cy="738664"/>
          </a:xfrm>
        </p:spPr>
        <p:txBody>
          <a:bodyPr wrap="square" lIns="0" tIns="0" rIns="0" bIns="0" anchor="ctr">
            <a:spAutoFit/>
          </a:bodyPr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/>
              <a:t>Titelfolie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31838" y="3709040"/>
            <a:ext cx="4578486" cy="276999"/>
          </a:xfr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Untertitel</a:t>
            </a:r>
            <a:endParaRPr lang="de-DE" dirty="0"/>
          </a:p>
        </p:txBody>
      </p:sp>
      <p:grpSp>
        <p:nvGrpSpPr>
          <p:cNvPr id="11" name="Group 13">
            <a:extLst>
              <a:ext uri="{FF2B5EF4-FFF2-40B4-BE49-F238E27FC236}">
                <a16:creationId xmlns:a16="http://schemas.microsoft.com/office/drawing/2014/main" id="{1640DA54-2D07-45E9-B888-3B5855200387}"/>
              </a:ext>
            </a:extLst>
          </p:cNvPr>
          <p:cNvGrpSpPr>
            <a:grpSpLocks/>
          </p:cNvGrpSpPr>
          <p:nvPr/>
        </p:nvGrpSpPr>
        <p:grpSpPr>
          <a:xfrm>
            <a:off x="731838" y="2110902"/>
            <a:ext cx="4578486" cy="2636198"/>
            <a:chOff x="1558925" y="4192858"/>
            <a:chExt cx="9235455" cy="5374888"/>
          </a:xfrm>
        </p:grpSpPr>
        <p:cxnSp>
          <p:nvCxnSpPr>
            <p:cNvPr id="12" name="Straight Connector 15">
              <a:extLst>
                <a:ext uri="{FF2B5EF4-FFF2-40B4-BE49-F238E27FC236}">
                  <a16:creationId xmlns:a16="http://schemas.microsoft.com/office/drawing/2014/main" id="{74011556-4059-4380-B7A9-162E6E6C3CC4}"/>
                </a:ext>
              </a:extLst>
            </p:cNvPr>
            <p:cNvCxnSpPr/>
            <p:nvPr/>
          </p:nvCxnSpPr>
          <p:spPr>
            <a:xfrm>
              <a:off x="1558925" y="9567746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6">
              <a:extLst>
                <a:ext uri="{FF2B5EF4-FFF2-40B4-BE49-F238E27FC236}">
                  <a16:creationId xmlns:a16="http://schemas.microsoft.com/office/drawing/2014/main" id="{F1374D04-108E-42AF-8188-EFBD3D85137F}"/>
                </a:ext>
              </a:extLst>
            </p:cNvPr>
            <p:cNvCxnSpPr/>
            <p:nvPr/>
          </p:nvCxnSpPr>
          <p:spPr>
            <a:xfrm>
              <a:off x="1558925" y="4192858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4" name="Picture 2" descr="T:\LEG-Darstellung\Power_Point_Praesentation\_MASTER\Logos\LEG_Logo_4c_de.gif">
            <a:extLst>
              <a:ext uri="{FF2B5EF4-FFF2-40B4-BE49-F238E27FC236}">
                <a16:creationId xmlns:a16="http://schemas.microsoft.com/office/drawing/2014/main" id="{ECE5DBBC-33C7-4E27-9F80-4715D4C36FAA}"/>
              </a:ext>
            </a:extLst>
          </p:cNvPr>
          <p:cNvPicPr>
            <a:picLocks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5028" y="0"/>
            <a:ext cx="2072972" cy="1041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461656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64">
          <p15:clr>
            <a:srgbClr val="CCCCCC"/>
          </p15:clr>
        </p15:guide>
        <p15:guide id="2" pos="7216">
          <p15:clr>
            <a:srgbClr val="CCCCCC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_blau_2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DCF6EDC-F177-4B01-8E9B-EAB815736A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79414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DCF6EDC-F177-4B01-8E9B-EAB815736A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31839" y="3032958"/>
            <a:ext cx="10728324" cy="830997"/>
          </a:xfrm>
        </p:spPr>
        <p:txBody>
          <a:bodyPr wrap="square" lIns="0" tIns="0" rIns="0" bIns="0" anchor="ctr">
            <a:spAutoFit/>
          </a:bodyPr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/>
              <a:t>Titelfolie</a:t>
            </a:r>
            <a:endParaRPr lang="de-DE" dirty="0"/>
          </a:p>
        </p:txBody>
      </p:sp>
      <p:grpSp>
        <p:nvGrpSpPr>
          <p:cNvPr id="11" name="Group 13">
            <a:extLst>
              <a:ext uri="{FF2B5EF4-FFF2-40B4-BE49-F238E27FC236}">
                <a16:creationId xmlns:a16="http://schemas.microsoft.com/office/drawing/2014/main" id="{1640DA54-2D07-45E9-B888-3B5855200387}"/>
              </a:ext>
            </a:extLst>
          </p:cNvPr>
          <p:cNvGrpSpPr>
            <a:grpSpLocks/>
          </p:cNvGrpSpPr>
          <p:nvPr/>
        </p:nvGrpSpPr>
        <p:grpSpPr>
          <a:xfrm>
            <a:off x="3806758" y="2110902"/>
            <a:ext cx="4578486" cy="2636198"/>
            <a:chOff x="1558925" y="4192858"/>
            <a:chExt cx="9235455" cy="5374888"/>
          </a:xfrm>
        </p:grpSpPr>
        <p:cxnSp>
          <p:nvCxnSpPr>
            <p:cNvPr id="12" name="Straight Connector 15">
              <a:extLst>
                <a:ext uri="{FF2B5EF4-FFF2-40B4-BE49-F238E27FC236}">
                  <a16:creationId xmlns:a16="http://schemas.microsoft.com/office/drawing/2014/main" id="{74011556-4059-4380-B7A9-162E6E6C3CC4}"/>
                </a:ext>
              </a:extLst>
            </p:cNvPr>
            <p:cNvCxnSpPr/>
            <p:nvPr/>
          </p:nvCxnSpPr>
          <p:spPr>
            <a:xfrm>
              <a:off x="1558925" y="9567746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6">
              <a:extLst>
                <a:ext uri="{FF2B5EF4-FFF2-40B4-BE49-F238E27FC236}">
                  <a16:creationId xmlns:a16="http://schemas.microsoft.com/office/drawing/2014/main" id="{F1374D04-108E-42AF-8188-EFBD3D85137F}"/>
                </a:ext>
              </a:extLst>
            </p:cNvPr>
            <p:cNvCxnSpPr/>
            <p:nvPr/>
          </p:nvCxnSpPr>
          <p:spPr>
            <a:xfrm>
              <a:off x="1558925" y="4192858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Picture 507" descr="\\LEG001\dat_a_uk\LEG-Darstellung\Logo\_LEG-Logo\_LEG Logo\_LEG_Englisch\LEG_Logo_4c_englisch.gif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5028" y="0"/>
            <a:ext cx="2072972" cy="1041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848175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_Karte_2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DCF6EDC-F177-4B01-8E9B-EAB815736A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6740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DCF6EDC-F177-4B01-8E9B-EAB815736A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4" name="Grafik 163">
            <a:extLst>
              <a:ext uri="{FF2B5EF4-FFF2-40B4-BE49-F238E27FC236}">
                <a16:creationId xmlns:a16="http://schemas.microsoft.com/office/drawing/2014/main" id="{B61C4624-99BD-4827-A3AE-D3652286580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16092"/>
          <a:stretch/>
        </p:blipFill>
        <p:spPr>
          <a:xfrm>
            <a:off x="5565525" y="0"/>
            <a:ext cx="6626475" cy="5779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31838" y="2700065"/>
            <a:ext cx="4578486" cy="1477328"/>
          </a:xfrm>
        </p:spPr>
        <p:txBody>
          <a:bodyPr wrap="square" lIns="0" tIns="0" rIns="0" bIns="0" anchor="ctr">
            <a:spAutoFit/>
          </a:bodyPr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folie</a:t>
            </a:r>
            <a:br>
              <a:rPr lang="de-DE"/>
            </a:br>
            <a:r>
              <a:rPr lang="de-DE"/>
              <a:t>zweizeilig</a:t>
            </a:r>
            <a:endParaRPr lang="de-DE" dirty="0"/>
          </a:p>
        </p:txBody>
      </p:sp>
      <p:grpSp>
        <p:nvGrpSpPr>
          <p:cNvPr id="11" name="Group 13">
            <a:extLst>
              <a:ext uri="{FF2B5EF4-FFF2-40B4-BE49-F238E27FC236}">
                <a16:creationId xmlns:a16="http://schemas.microsoft.com/office/drawing/2014/main" id="{1640DA54-2D07-45E9-B888-3B5855200387}"/>
              </a:ext>
            </a:extLst>
          </p:cNvPr>
          <p:cNvGrpSpPr>
            <a:grpSpLocks/>
          </p:cNvGrpSpPr>
          <p:nvPr/>
        </p:nvGrpSpPr>
        <p:grpSpPr>
          <a:xfrm>
            <a:off x="731838" y="2110902"/>
            <a:ext cx="4578486" cy="2636198"/>
            <a:chOff x="1558925" y="4192858"/>
            <a:chExt cx="9235455" cy="5374888"/>
          </a:xfrm>
        </p:grpSpPr>
        <p:cxnSp>
          <p:nvCxnSpPr>
            <p:cNvPr id="12" name="Straight Connector 15">
              <a:extLst>
                <a:ext uri="{FF2B5EF4-FFF2-40B4-BE49-F238E27FC236}">
                  <a16:creationId xmlns:a16="http://schemas.microsoft.com/office/drawing/2014/main" id="{74011556-4059-4380-B7A9-162E6E6C3CC4}"/>
                </a:ext>
              </a:extLst>
            </p:cNvPr>
            <p:cNvCxnSpPr/>
            <p:nvPr/>
          </p:nvCxnSpPr>
          <p:spPr>
            <a:xfrm>
              <a:off x="1558925" y="9567746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6">
              <a:extLst>
                <a:ext uri="{FF2B5EF4-FFF2-40B4-BE49-F238E27FC236}">
                  <a16:creationId xmlns:a16="http://schemas.microsoft.com/office/drawing/2014/main" id="{F1374D04-108E-42AF-8188-EFBD3D85137F}"/>
                </a:ext>
              </a:extLst>
            </p:cNvPr>
            <p:cNvCxnSpPr/>
            <p:nvPr/>
          </p:nvCxnSpPr>
          <p:spPr>
            <a:xfrm>
              <a:off x="1558925" y="4192858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" name="Picture 2" descr="T:\LEG-Darstellung\Power_Point_Praesentation\_MASTER\Logos\LEG_Logo_4c_de.gif">
            <a:extLst>
              <a:ext uri="{FF2B5EF4-FFF2-40B4-BE49-F238E27FC236}">
                <a16:creationId xmlns:a16="http://schemas.microsoft.com/office/drawing/2014/main" id="{ECE5DBBC-33C7-4E27-9F80-4715D4C36FAA}"/>
              </a:ext>
            </a:extLst>
          </p:cNvPr>
          <p:cNvPicPr>
            <a:picLocks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5028" y="0"/>
            <a:ext cx="2072972" cy="1041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6924881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trenner  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6655ED5-16BC-4F25-8174-C699708F651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DAA6D94B-0521-42F2-9F06-9BB3145FCF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792" y="2052537"/>
            <a:ext cx="7930867" cy="3013268"/>
          </a:xfrm>
          <a:gradFill flip="none" rotWithShape="0">
            <a:gsLst>
              <a:gs pos="0">
                <a:schemeClr val="accent6"/>
              </a:gs>
              <a:gs pos="100000">
                <a:schemeClr val="accent6">
                  <a:alpha val="70000"/>
                  <a:lumMod val="54000"/>
                </a:schemeClr>
              </a:gs>
            </a:gsLst>
            <a:lin ang="6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>
            <a:normAutofit/>
          </a:bodyPr>
          <a:lstStyle>
            <a:lvl1pPr marL="0" indent="0" algn="l">
              <a:buNone/>
              <a:defRPr lang="en-GB" sz="1800" dirty="0">
                <a:solidFill>
                  <a:schemeClr val="lt1"/>
                </a:solidFill>
              </a:defRPr>
            </a:lvl1pPr>
          </a:lstStyle>
          <a:p>
            <a:pPr marL="179388" lvl="0" indent="-179388" algn="ctr" defTabSz="457200"/>
            <a:r>
              <a:rPr lang="en-GB" dirty="0"/>
              <a:t> </a:t>
            </a:r>
          </a:p>
        </p:txBody>
      </p:sp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DCF6EDC-F177-4B01-8E9B-EAB815736A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1904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DCF6EDC-F177-4B01-8E9B-EAB815736A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9DCB815F-E587-4332-A934-EA4D2E466FC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11" name="Bildplatzhalter 16"/>
          <p:cNvSpPr>
            <a:spLocks noGrp="1"/>
          </p:cNvSpPr>
          <p:nvPr>
            <p:ph type="pic" sz="quarter" idx="13" hasCustomPrompt="1"/>
          </p:nvPr>
        </p:nvSpPr>
        <p:spPr>
          <a:xfrm>
            <a:off x="3565154" y="4107882"/>
            <a:ext cx="756000" cy="360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31839" y="3060108"/>
            <a:ext cx="6422630" cy="677108"/>
          </a:xfrm>
        </p:spPr>
        <p:txBody>
          <a:bodyPr wrap="square" lIns="0" tIns="0" rIns="0" bIns="0" anchor="ctr">
            <a:sp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hema / Bereich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31839" y="3759743"/>
            <a:ext cx="6422630" cy="246221"/>
          </a:xfr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Untertitel</a:t>
            </a:r>
            <a:endParaRPr lang="de-DE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A0A29180-627F-4549-B520-E6568305CD9C}"/>
              </a:ext>
            </a:extLst>
          </p:cNvPr>
          <p:cNvSpPr/>
          <p:nvPr/>
        </p:nvSpPr>
        <p:spPr>
          <a:xfrm>
            <a:off x="12432704" y="18728"/>
            <a:ext cx="1620000" cy="341632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algn="l"/>
            <a:r>
              <a:rPr lang="de-DE" sz="1200" b="1" dirty="0"/>
              <a:t>Hintergrundbild</a:t>
            </a:r>
            <a:r>
              <a:rPr lang="de-DE" sz="1200" b="1" baseline="0" dirty="0"/>
              <a:t> einfügen</a:t>
            </a:r>
          </a:p>
          <a:p>
            <a:pPr algn="l"/>
            <a:endParaRPr lang="de-DE" sz="1200" b="1" baseline="0" dirty="0"/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dirty="0"/>
              <a:t>1. Auf Bild </a:t>
            </a:r>
            <a:r>
              <a:rPr lang="de-DE" sz="1200" b="1" i="1" dirty="0"/>
              <a:t>Rechtsklick </a:t>
            </a:r>
            <a:r>
              <a:rPr lang="de-DE" sz="1200" b="1" i="1" dirty="0">
                <a:sym typeface="Wingdings" panose="05000000000000000000" pitchFamily="2" charset="2"/>
              </a:rPr>
              <a:t></a:t>
            </a:r>
            <a:br>
              <a:rPr lang="de-DE" sz="1200" b="1" i="1" dirty="0">
                <a:sym typeface="Wingdings" panose="05000000000000000000" pitchFamily="2" charset="2"/>
              </a:rPr>
            </a:br>
            <a:r>
              <a:rPr lang="de-DE" sz="1200" b="1" i="0" dirty="0">
                <a:solidFill>
                  <a:srgbClr val="FF0000"/>
                </a:solidFill>
                <a:highlight>
                  <a:srgbClr val="F9F9F9"/>
                </a:highlight>
                <a:sym typeface="Wingdings" panose="05000000000000000000" pitchFamily="2" charset="2"/>
              </a:rPr>
              <a:t>In den Vordergrund </a:t>
            </a:r>
          </a:p>
          <a:p>
            <a:pPr algn="l"/>
            <a:endParaRPr lang="de-DE" sz="1200" b="1" dirty="0"/>
          </a:p>
          <a:p>
            <a:pPr algn="l"/>
            <a:r>
              <a:rPr lang="de-DE" sz="1200" b="1" dirty="0"/>
              <a:t>2.</a:t>
            </a:r>
            <a:r>
              <a:rPr lang="de-DE" sz="1200" b="0" baseline="0" dirty="0"/>
              <a:t> Gewünschtes Bild einfügen. </a:t>
            </a:r>
            <a:r>
              <a:rPr lang="de-DE" sz="1200" dirty="0"/>
              <a:t>Klicken sie dazu auf das Bild-Icon in der Mitte des Platzhalters.</a:t>
            </a:r>
          </a:p>
          <a:p>
            <a:pPr algn="l"/>
            <a:endParaRPr lang="de-DE" sz="1200" dirty="0"/>
          </a:p>
          <a:p>
            <a:pPr algn="l"/>
            <a:r>
              <a:rPr lang="de-DE" sz="1200" b="1" dirty="0"/>
              <a:t>3. </a:t>
            </a:r>
            <a:r>
              <a:rPr lang="de-DE" sz="1200" dirty="0"/>
              <a:t>Haben Sie das gewünschte Bild eingefügt</a:t>
            </a:r>
            <a:br>
              <a:rPr lang="de-DE" sz="1200" dirty="0"/>
            </a:br>
            <a:r>
              <a:rPr lang="de-DE" sz="1200" b="1" i="1" dirty="0"/>
              <a:t>Rechtsklick </a:t>
            </a:r>
            <a:r>
              <a:rPr lang="de-DE" sz="1200" b="1" i="1" dirty="0">
                <a:sym typeface="Wingdings" panose="05000000000000000000" pitchFamily="2" charset="2"/>
              </a:rPr>
              <a:t></a:t>
            </a:r>
            <a:br>
              <a:rPr lang="de-DE" sz="1200" b="1" i="1" dirty="0">
                <a:sym typeface="Wingdings" panose="05000000000000000000" pitchFamily="2" charset="2"/>
              </a:rPr>
            </a:br>
            <a:r>
              <a:rPr lang="de-DE" sz="1200" b="1" i="0" dirty="0">
                <a:solidFill>
                  <a:srgbClr val="FF0000"/>
                </a:solidFill>
                <a:highlight>
                  <a:srgbClr val="F9F9F9"/>
                </a:highlight>
                <a:sym typeface="Wingdings" panose="05000000000000000000" pitchFamily="2" charset="2"/>
              </a:rPr>
              <a:t>In den Hintergrund </a:t>
            </a:r>
          </a:p>
        </p:txBody>
      </p:sp>
    </p:spTree>
    <p:extLst>
      <p:ext uri="{BB962C8B-B14F-4D97-AF65-F5344CB8AC3E}">
        <p14:creationId xmlns:p14="http://schemas.microsoft.com/office/powerpoint/2010/main" val="40356405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trenner   link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DCF6EDC-F177-4B01-8E9B-EAB815736A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62256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DCF6EDC-F177-4B01-8E9B-EAB815736A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488CA2DA-98B7-4F09-87C1-8A8782D0F5E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6655ED5-16BC-4F25-8174-C699708F651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D1B9A78-C004-49FB-8BDA-D0AC5DFCE2F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2052537"/>
            <a:ext cx="7930867" cy="3013268"/>
          </a:xfrm>
          <a:gradFill flip="none" rotWithShape="0">
            <a:gsLst>
              <a:gs pos="0">
                <a:schemeClr val="accent6"/>
              </a:gs>
              <a:gs pos="100000">
                <a:schemeClr val="accent6">
                  <a:alpha val="70000"/>
                  <a:lumMod val="54000"/>
                </a:schemeClr>
              </a:gs>
            </a:gsLst>
            <a:lin ang="6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>
            <a:normAutofit/>
          </a:bodyPr>
          <a:lstStyle>
            <a:lvl1pPr marL="0" indent="0" algn="l">
              <a:buNone/>
              <a:defRPr lang="en-GB" sz="1800" dirty="0">
                <a:solidFill>
                  <a:schemeClr val="lt1"/>
                </a:solidFill>
              </a:defRPr>
            </a:lvl1pPr>
          </a:lstStyle>
          <a:p>
            <a:pPr marL="179388" lvl="0" indent="-179388" algn="ctr" defTabSz="457200"/>
            <a:r>
              <a:rPr lang="en-GB" dirty="0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31839" y="3220617"/>
            <a:ext cx="6422630" cy="677108"/>
          </a:xfrm>
        </p:spPr>
        <p:txBody>
          <a:bodyPr wrap="square" lIns="0" tIns="0" rIns="0" bIns="0" anchor="b">
            <a:sp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hema / Bereich</a:t>
            </a:r>
          </a:p>
        </p:txBody>
      </p:sp>
      <p:sp>
        <p:nvSpPr>
          <p:cNvPr id="17" name="Bildplatzhalter 16"/>
          <p:cNvSpPr>
            <a:spLocks noGrp="1"/>
          </p:cNvSpPr>
          <p:nvPr>
            <p:ph type="pic" sz="quarter" idx="13" hasCustomPrompt="1"/>
          </p:nvPr>
        </p:nvSpPr>
        <p:spPr>
          <a:xfrm>
            <a:off x="3565154" y="4107882"/>
            <a:ext cx="756000" cy="360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A0A29180-627F-4549-B520-E6568305CD9C}"/>
              </a:ext>
            </a:extLst>
          </p:cNvPr>
          <p:cNvSpPr/>
          <p:nvPr/>
        </p:nvSpPr>
        <p:spPr>
          <a:xfrm>
            <a:off x="12432704" y="18728"/>
            <a:ext cx="1620000" cy="341632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algn="l"/>
            <a:r>
              <a:rPr lang="de-DE" sz="1200" b="1" dirty="0"/>
              <a:t>Hintergrundbild</a:t>
            </a:r>
            <a:r>
              <a:rPr lang="de-DE" sz="1200" b="1" baseline="0" dirty="0"/>
              <a:t> einfügen</a:t>
            </a:r>
          </a:p>
          <a:p>
            <a:pPr algn="l"/>
            <a:endParaRPr lang="de-DE" sz="1200" b="1" baseline="0" dirty="0"/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dirty="0"/>
              <a:t>1. Auf Bild </a:t>
            </a:r>
            <a:r>
              <a:rPr lang="de-DE" sz="1200" b="1" i="1" dirty="0"/>
              <a:t>Rechtsklick </a:t>
            </a:r>
            <a:r>
              <a:rPr lang="de-DE" sz="1200" b="1" i="1" dirty="0">
                <a:sym typeface="Wingdings" panose="05000000000000000000" pitchFamily="2" charset="2"/>
              </a:rPr>
              <a:t></a:t>
            </a:r>
            <a:br>
              <a:rPr lang="de-DE" sz="1200" b="1" i="1" dirty="0">
                <a:sym typeface="Wingdings" panose="05000000000000000000" pitchFamily="2" charset="2"/>
              </a:rPr>
            </a:br>
            <a:r>
              <a:rPr lang="de-DE" sz="1200" b="1" i="0" dirty="0">
                <a:solidFill>
                  <a:srgbClr val="FF0000"/>
                </a:solidFill>
                <a:highlight>
                  <a:srgbClr val="F9F9F9"/>
                </a:highlight>
                <a:sym typeface="Wingdings" panose="05000000000000000000" pitchFamily="2" charset="2"/>
              </a:rPr>
              <a:t>In den Vordergrund </a:t>
            </a:r>
          </a:p>
          <a:p>
            <a:pPr algn="l"/>
            <a:endParaRPr lang="de-DE" sz="1200" b="1" dirty="0"/>
          </a:p>
          <a:p>
            <a:pPr algn="l"/>
            <a:r>
              <a:rPr lang="de-DE" sz="1200" b="1" dirty="0"/>
              <a:t>2.</a:t>
            </a:r>
            <a:r>
              <a:rPr lang="de-DE" sz="1200" b="0" baseline="0" dirty="0"/>
              <a:t> Gewünschtes Bild einfügen. </a:t>
            </a:r>
            <a:r>
              <a:rPr lang="de-DE" sz="1200" dirty="0"/>
              <a:t>Klicken sie dazu auf das Bild-Icon in der Mitte des Platzhalters.</a:t>
            </a:r>
          </a:p>
          <a:p>
            <a:pPr algn="l"/>
            <a:endParaRPr lang="de-DE" sz="1200" dirty="0"/>
          </a:p>
          <a:p>
            <a:pPr algn="l"/>
            <a:r>
              <a:rPr lang="de-DE" sz="1200" b="1" dirty="0"/>
              <a:t>3. </a:t>
            </a:r>
            <a:r>
              <a:rPr lang="de-DE" sz="1200" dirty="0"/>
              <a:t>Haben Sie das gewünschte Bild eingefügt</a:t>
            </a:r>
            <a:br>
              <a:rPr lang="de-DE" sz="1200" dirty="0"/>
            </a:br>
            <a:r>
              <a:rPr lang="de-DE" sz="1200" b="1" i="1" dirty="0"/>
              <a:t>Rechtsklick </a:t>
            </a:r>
            <a:r>
              <a:rPr lang="de-DE" sz="1200" b="1" i="1" dirty="0">
                <a:sym typeface="Wingdings" panose="05000000000000000000" pitchFamily="2" charset="2"/>
              </a:rPr>
              <a:t></a:t>
            </a:r>
            <a:br>
              <a:rPr lang="de-DE" sz="1200" b="1" i="1" dirty="0">
                <a:sym typeface="Wingdings" panose="05000000000000000000" pitchFamily="2" charset="2"/>
              </a:rPr>
            </a:br>
            <a:r>
              <a:rPr lang="de-DE" sz="1200" b="1" i="0" dirty="0">
                <a:solidFill>
                  <a:srgbClr val="FF0000"/>
                </a:solidFill>
                <a:highlight>
                  <a:srgbClr val="F9F9F9"/>
                </a:highlight>
                <a:sym typeface="Wingdings" panose="05000000000000000000" pitchFamily="2" charset="2"/>
              </a:rPr>
              <a:t>In den Hintergrund </a:t>
            </a:r>
          </a:p>
        </p:txBody>
      </p:sp>
    </p:spTree>
    <p:extLst>
      <p:ext uri="{BB962C8B-B14F-4D97-AF65-F5344CB8AC3E}">
        <p14:creationId xmlns:p14="http://schemas.microsoft.com/office/powerpoint/2010/main" val="40609183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trenner   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DCF6EDC-F177-4B01-8E9B-EAB815736A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48967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DCF6EDC-F177-4B01-8E9B-EAB815736A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21B4BC97-DA97-47E5-A031-F4489CC16C8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6655ED5-16BC-4F25-8174-C699708F651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6F9468D2-00BA-4450-879A-EA800A1DCD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61133" y="2052537"/>
            <a:ext cx="7930867" cy="3013268"/>
          </a:xfrm>
          <a:gradFill flip="none" rotWithShape="0">
            <a:gsLst>
              <a:gs pos="0">
                <a:schemeClr val="accent6"/>
              </a:gs>
              <a:gs pos="100000">
                <a:schemeClr val="accent6">
                  <a:alpha val="70000"/>
                  <a:lumMod val="54000"/>
                </a:schemeClr>
              </a:gs>
            </a:gsLst>
            <a:lin ang="6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>
            <a:normAutofit/>
          </a:bodyPr>
          <a:lstStyle>
            <a:lvl1pPr marL="0" indent="0" algn="l">
              <a:buNone/>
              <a:defRPr lang="en-GB" sz="1800" dirty="0">
                <a:solidFill>
                  <a:schemeClr val="lt1"/>
                </a:solidFill>
              </a:defRPr>
            </a:lvl1pPr>
          </a:lstStyle>
          <a:p>
            <a:pPr marL="179388" lvl="0" indent="-179388" algn="ctr" defTabSz="457200"/>
            <a:r>
              <a:rPr lang="en-GB" dirty="0"/>
              <a:t> </a:t>
            </a:r>
          </a:p>
        </p:txBody>
      </p:sp>
      <p:sp>
        <p:nvSpPr>
          <p:cNvPr id="11" name="Bildplatzhalter 16"/>
          <p:cNvSpPr>
            <a:spLocks noGrp="1"/>
          </p:cNvSpPr>
          <p:nvPr>
            <p:ph type="pic" sz="quarter" idx="13" hasCustomPrompt="1"/>
          </p:nvPr>
        </p:nvSpPr>
        <p:spPr>
          <a:xfrm>
            <a:off x="7848566" y="4107882"/>
            <a:ext cx="756000" cy="360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015251" y="3060108"/>
            <a:ext cx="6422630" cy="677108"/>
          </a:xfrm>
        </p:spPr>
        <p:txBody>
          <a:bodyPr wrap="square" lIns="0" tIns="0" rIns="0" bIns="0" anchor="ctr">
            <a:sp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hema / Bereich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5251" y="3759743"/>
            <a:ext cx="6422630" cy="246221"/>
          </a:xfr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Untertitel</a:t>
            </a:r>
            <a:endParaRPr lang="de-DE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A0A29180-627F-4549-B520-E6568305CD9C}"/>
              </a:ext>
            </a:extLst>
          </p:cNvPr>
          <p:cNvSpPr/>
          <p:nvPr/>
        </p:nvSpPr>
        <p:spPr>
          <a:xfrm>
            <a:off x="12432704" y="18728"/>
            <a:ext cx="1620000" cy="341632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algn="l"/>
            <a:r>
              <a:rPr lang="de-DE" sz="1200" b="1" dirty="0"/>
              <a:t>Hintergrundbild</a:t>
            </a:r>
            <a:r>
              <a:rPr lang="de-DE" sz="1200" b="1" baseline="0" dirty="0"/>
              <a:t> einfügen</a:t>
            </a:r>
          </a:p>
          <a:p>
            <a:pPr algn="l"/>
            <a:endParaRPr lang="de-DE" sz="1200" b="1" baseline="0" dirty="0"/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dirty="0"/>
              <a:t>1. Auf Bild </a:t>
            </a:r>
            <a:r>
              <a:rPr lang="de-DE" sz="1200" b="1" i="1" dirty="0"/>
              <a:t>Rechtsklick </a:t>
            </a:r>
            <a:r>
              <a:rPr lang="de-DE" sz="1200" b="1" i="1" dirty="0">
                <a:sym typeface="Wingdings" panose="05000000000000000000" pitchFamily="2" charset="2"/>
              </a:rPr>
              <a:t></a:t>
            </a:r>
            <a:br>
              <a:rPr lang="de-DE" sz="1200" b="1" i="1" dirty="0">
                <a:sym typeface="Wingdings" panose="05000000000000000000" pitchFamily="2" charset="2"/>
              </a:rPr>
            </a:br>
            <a:r>
              <a:rPr lang="de-DE" sz="1200" b="1" i="0" dirty="0">
                <a:solidFill>
                  <a:srgbClr val="FF0000"/>
                </a:solidFill>
                <a:highlight>
                  <a:srgbClr val="F9F9F9"/>
                </a:highlight>
                <a:sym typeface="Wingdings" panose="05000000000000000000" pitchFamily="2" charset="2"/>
              </a:rPr>
              <a:t>In den Vordergrund </a:t>
            </a:r>
          </a:p>
          <a:p>
            <a:pPr algn="l"/>
            <a:endParaRPr lang="de-DE" sz="1200" b="1" dirty="0"/>
          </a:p>
          <a:p>
            <a:pPr algn="l"/>
            <a:r>
              <a:rPr lang="de-DE" sz="1200" b="1" dirty="0"/>
              <a:t>2.</a:t>
            </a:r>
            <a:r>
              <a:rPr lang="de-DE" sz="1200" b="0" baseline="0" dirty="0"/>
              <a:t> Gewünschtes Bild einfügen. </a:t>
            </a:r>
            <a:r>
              <a:rPr lang="de-DE" sz="1200" dirty="0"/>
              <a:t>Klicken sie dazu auf das Bild-Icon in der Mitte des Platzhalters.</a:t>
            </a:r>
          </a:p>
          <a:p>
            <a:pPr algn="l"/>
            <a:endParaRPr lang="de-DE" sz="1200" dirty="0"/>
          </a:p>
          <a:p>
            <a:pPr algn="l"/>
            <a:r>
              <a:rPr lang="de-DE" sz="1200" b="1" dirty="0"/>
              <a:t>3. </a:t>
            </a:r>
            <a:r>
              <a:rPr lang="de-DE" sz="1200" dirty="0"/>
              <a:t>Haben Sie das gewünschte Bild eingefügt</a:t>
            </a:r>
            <a:br>
              <a:rPr lang="de-DE" sz="1200" dirty="0"/>
            </a:br>
            <a:r>
              <a:rPr lang="de-DE" sz="1200" b="1" i="1" dirty="0"/>
              <a:t>Rechtsklick </a:t>
            </a:r>
            <a:r>
              <a:rPr lang="de-DE" sz="1200" b="1" i="1" dirty="0">
                <a:sym typeface="Wingdings" panose="05000000000000000000" pitchFamily="2" charset="2"/>
              </a:rPr>
              <a:t></a:t>
            </a:r>
            <a:br>
              <a:rPr lang="de-DE" sz="1200" b="1" i="1" dirty="0">
                <a:sym typeface="Wingdings" panose="05000000000000000000" pitchFamily="2" charset="2"/>
              </a:rPr>
            </a:br>
            <a:r>
              <a:rPr lang="de-DE" sz="1200" b="1" i="0" dirty="0">
                <a:solidFill>
                  <a:srgbClr val="FF0000"/>
                </a:solidFill>
                <a:highlight>
                  <a:srgbClr val="F9F9F9"/>
                </a:highlight>
                <a:sym typeface="Wingdings" panose="05000000000000000000" pitchFamily="2" charset="2"/>
              </a:rPr>
              <a:t>In den Hintergrund </a:t>
            </a:r>
          </a:p>
        </p:txBody>
      </p:sp>
    </p:spTree>
    <p:extLst>
      <p:ext uri="{BB962C8B-B14F-4D97-AF65-F5344CB8AC3E}">
        <p14:creationId xmlns:p14="http://schemas.microsoft.com/office/powerpoint/2010/main" val="110580857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trenner   recht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DCF6EDC-F177-4B01-8E9B-EAB815736A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64689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DCF6EDC-F177-4B01-8E9B-EAB815736A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F86BE0DF-7D71-4374-A05A-3A5F116DC9F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6655ED5-16BC-4F25-8174-C699708F651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06034BA3-4E23-4342-B0DE-CA9287FCE2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61133" y="2052537"/>
            <a:ext cx="7930867" cy="3013268"/>
          </a:xfrm>
          <a:gradFill flip="none" rotWithShape="0">
            <a:gsLst>
              <a:gs pos="0">
                <a:schemeClr val="accent6"/>
              </a:gs>
              <a:gs pos="100000">
                <a:schemeClr val="accent6">
                  <a:alpha val="70000"/>
                  <a:lumMod val="54000"/>
                </a:schemeClr>
              </a:gs>
            </a:gsLst>
            <a:lin ang="6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>
            <a:normAutofit/>
          </a:bodyPr>
          <a:lstStyle>
            <a:lvl1pPr marL="0" indent="0" algn="l">
              <a:buNone/>
              <a:defRPr lang="en-GB" sz="1800" dirty="0">
                <a:solidFill>
                  <a:schemeClr val="lt1"/>
                </a:solidFill>
              </a:defRPr>
            </a:lvl1pPr>
          </a:lstStyle>
          <a:p>
            <a:pPr marL="179388" lvl="0" indent="-179388" algn="ctr" defTabSz="457200"/>
            <a:r>
              <a:rPr lang="en-GB" dirty="0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015251" y="3220617"/>
            <a:ext cx="6422630" cy="677108"/>
          </a:xfrm>
        </p:spPr>
        <p:txBody>
          <a:bodyPr wrap="square" lIns="0" tIns="0" rIns="0" bIns="0" anchor="b">
            <a:sp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hema / Bereich</a:t>
            </a:r>
          </a:p>
        </p:txBody>
      </p:sp>
      <p:sp>
        <p:nvSpPr>
          <p:cNvPr id="17" name="Bildplatzhalter 16"/>
          <p:cNvSpPr>
            <a:spLocks noGrp="1"/>
          </p:cNvSpPr>
          <p:nvPr>
            <p:ph type="pic" sz="quarter" idx="13" hasCustomPrompt="1"/>
          </p:nvPr>
        </p:nvSpPr>
        <p:spPr>
          <a:xfrm>
            <a:off x="7848566" y="4107882"/>
            <a:ext cx="756000" cy="360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0A29180-627F-4549-B520-E6568305CD9C}"/>
              </a:ext>
            </a:extLst>
          </p:cNvPr>
          <p:cNvSpPr/>
          <p:nvPr/>
        </p:nvSpPr>
        <p:spPr>
          <a:xfrm>
            <a:off x="12432704" y="18728"/>
            <a:ext cx="1620000" cy="341632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algn="l"/>
            <a:r>
              <a:rPr lang="de-DE" sz="1200" b="1" dirty="0"/>
              <a:t>Hintergrundbild</a:t>
            </a:r>
            <a:r>
              <a:rPr lang="de-DE" sz="1200" b="1" baseline="0" dirty="0"/>
              <a:t> einfügen</a:t>
            </a:r>
          </a:p>
          <a:p>
            <a:pPr algn="l"/>
            <a:endParaRPr lang="de-DE" sz="1200" b="1" baseline="0" dirty="0"/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dirty="0"/>
              <a:t>1. Auf Bild </a:t>
            </a:r>
            <a:r>
              <a:rPr lang="de-DE" sz="1200" b="1" i="1" dirty="0"/>
              <a:t>Rechtsklick </a:t>
            </a:r>
            <a:r>
              <a:rPr lang="de-DE" sz="1200" b="1" i="1" dirty="0">
                <a:sym typeface="Wingdings" panose="05000000000000000000" pitchFamily="2" charset="2"/>
              </a:rPr>
              <a:t></a:t>
            </a:r>
            <a:br>
              <a:rPr lang="de-DE" sz="1200" b="1" i="1" dirty="0">
                <a:sym typeface="Wingdings" panose="05000000000000000000" pitchFamily="2" charset="2"/>
              </a:rPr>
            </a:br>
            <a:r>
              <a:rPr lang="de-DE" sz="1200" b="1" i="0" dirty="0">
                <a:solidFill>
                  <a:srgbClr val="FF0000"/>
                </a:solidFill>
                <a:highlight>
                  <a:srgbClr val="F9F9F9"/>
                </a:highlight>
                <a:sym typeface="Wingdings" panose="05000000000000000000" pitchFamily="2" charset="2"/>
              </a:rPr>
              <a:t>In den Vordergrund </a:t>
            </a:r>
          </a:p>
          <a:p>
            <a:pPr algn="l"/>
            <a:endParaRPr lang="de-DE" sz="1200" b="1" dirty="0"/>
          </a:p>
          <a:p>
            <a:pPr algn="l"/>
            <a:r>
              <a:rPr lang="de-DE" sz="1200" b="1" dirty="0"/>
              <a:t>2.</a:t>
            </a:r>
            <a:r>
              <a:rPr lang="de-DE" sz="1200" b="0" baseline="0" dirty="0"/>
              <a:t> Gewünschtes Bild einfügen. </a:t>
            </a:r>
            <a:r>
              <a:rPr lang="de-DE" sz="1200" dirty="0"/>
              <a:t>Klicken sie dazu auf das Bild-Icon in der Mitte des Platzhalters.</a:t>
            </a:r>
          </a:p>
          <a:p>
            <a:pPr algn="l"/>
            <a:endParaRPr lang="de-DE" sz="1200" dirty="0"/>
          </a:p>
          <a:p>
            <a:pPr algn="l"/>
            <a:r>
              <a:rPr lang="de-DE" sz="1200" b="1" dirty="0"/>
              <a:t>3. </a:t>
            </a:r>
            <a:r>
              <a:rPr lang="de-DE" sz="1200" dirty="0"/>
              <a:t>Haben Sie das gewünschte Bild eingefügt</a:t>
            </a:r>
            <a:br>
              <a:rPr lang="de-DE" sz="1200" dirty="0"/>
            </a:br>
            <a:r>
              <a:rPr lang="de-DE" sz="1200" b="1" i="1" dirty="0"/>
              <a:t>Rechtsklick </a:t>
            </a:r>
            <a:r>
              <a:rPr lang="de-DE" sz="1200" b="1" i="1" dirty="0">
                <a:sym typeface="Wingdings" panose="05000000000000000000" pitchFamily="2" charset="2"/>
              </a:rPr>
              <a:t></a:t>
            </a:r>
            <a:br>
              <a:rPr lang="de-DE" sz="1200" b="1" i="1" dirty="0">
                <a:sym typeface="Wingdings" panose="05000000000000000000" pitchFamily="2" charset="2"/>
              </a:rPr>
            </a:br>
            <a:r>
              <a:rPr lang="de-DE" sz="1200" b="1" i="0" dirty="0">
                <a:solidFill>
                  <a:srgbClr val="FF0000"/>
                </a:solidFill>
                <a:highlight>
                  <a:srgbClr val="F9F9F9"/>
                </a:highlight>
                <a:sym typeface="Wingdings" panose="05000000000000000000" pitchFamily="2" charset="2"/>
              </a:rPr>
              <a:t>In den Hintergrund </a:t>
            </a:r>
          </a:p>
        </p:txBody>
      </p:sp>
    </p:spTree>
    <p:extLst>
      <p:ext uri="{BB962C8B-B14F-4D97-AF65-F5344CB8AC3E}">
        <p14:creationId xmlns:p14="http://schemas.microsoft.com/office/powerpoint/2010/main" val="42600657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C4227188-4C72-4E0F-AB71-E540A327673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0"/>
            <a:ext cx="79416" cy="793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838" y="212573"/>
            <a:ext cx="10728325" cy="523220"/>
          </a:xfrm>
        </p:spPr>
        <p:txBody>
          <a:bodyPr lIns="0" tIns="0" rIns="0" bIns="0">
            <a:spAutoFit/>
          </a:bodyPr>
          <a:lstStyle>
            <a:lvl1pPr algn="ctr">
              <a:lnSpc>
                <a:spcPct val="100000"/>
              </a:lnSpc>
              <a:spcBef>
                <a:spcPts val="300"/>
              </a:spcBef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838" y="1773238"/>
            <a:ext cx="10728325" cy="4356100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13.02.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9782719" cy="153888"/>
          </a:xfrm>
        </p:spPr>
        <p:txBody>
          <a:bodyPr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6889" y="6568973"/>
            <a:ext cx="253274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C31F6BF0-11B6-44E7-8396-A4C4CF06E29F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0F479CA-E3C8-4ACE-99D5-F1F7391799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1838" y="773460"/>
            <a:ext cx="10728325" cy="246221"/>
          </a:xfrm>
        </p:spPr>
        <p:txBody>
          <a:bodyPr lIns="0" tIns="0" rIns="0" bIns="0">
            <a:sp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4750049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1117">
          <p15:clr>
            <a:srgbClr val="FBAE40"/>
          </p15:clr>
        </p15:guide>
        <p15:guide id="4" orient="horz" pos="3861">
          <p15:clr>
            <a:srgbClr val="FBAE40"/>
          </p15:clr>
        </p15:guide>
        <p15:guide id="5" pos="461">
          <p15:clr>
            <a:srgbClr val="FBAE40"/>
          </p15:clr>
        </p15:guide>
        <p15:guide id="6" pos="7219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016144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838" y="552420"/>
            <a:ext cx="10728325" cy="523220"/>
          </a:xfrm>
        </p:spPr>
        <p:txBody>
          <a:bodyPr lIns="0" tIns="0" rIns="0" bIns="0" anchor="b">
            <a:spAutoFit/>
          </a:bodyPr>
          <a:lstStyle>
            <a:lvl1pPr algn="ctr">
              <a:lnSpc>
                <a:spcPct val="100000"/>
              </a:lnSpc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838" y="1773238"/>
            <a:ext cx="10728325" cy="4356100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13.02.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9782719" cy="153888"/>
          </a:xfrm>
        </p:spPr>
        <p:txBody>
          <a:bodyPr lIns="0" tIns="0" rIns="0" bIns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C31F6BF0-11B6-44E7-8396-A4C4CF06E29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62274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19">
          <p15:clr>
            <a:srgbClr val="FBAE40"/>
          </p15:clr>
        </p15:guide>
        <p15:guide id="2" pos="461">
          <p15:clr>
            <a:srgbClr val="FBAE40"/>
          </p15:clr>
        </p15:guide>
        <p15:guide id="3" orient="horz" pos="1117">
          <p15:clr>
            <a:srgbClr val="FBAE40"/>
          </p15:clr>
        </p15:guide>
        <p15:guide id="4" orient="horz" pos="386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3030395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838" y="212573"/>
            <a:ext cx="10728325" cy="523220"/>
          </a:xfrm>
        </p:spPr>
        <p:txBody>
          <a:bodyPr lIns="0" tIns="0" rIns="0" bIns="0">
            <a:spAutoFit/>
          </a:bodyPr>
          <a:lstStyle>
            <a:lvl1pPr algn="ctr">
              <a:lnSpc>
                <a:spcPct val="100000"/>
              </a:lnSpc>
              <a:spcBef>
                <a:spcPts val="300"/>
              </a:spcBef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839" y="1773238"/>
            <a:ext cx="3887786" cy="4356100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13.02.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9782719" cy="153888"/>
          </a:xfrm>
        </p:spPr>
        <p:txBody>
          <a:bodyPr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C31F6BF0-11B6-44E7-8396-A4C4CF06E29F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0F479CA-E3C8-4ACE-99D5-F1F7391799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1838" y="773460"/>
            <a:ext cx="10728325" cy="246221"/>
          </a:xfrm>
        </p:spPr>
        <p:txBody>
          <a:bodyPr lIns="0" tIns="0" rIns="0" bIns="0">
            <a:sp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B43628-C72B-4E89-965D-086F8357BF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375276" y="1773238"/>
            <a:ext cx="6816724" cy="43561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76284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86">
          <p15:clr>
            <a:srgbClr val="FBAE40"/>
          </p15:clr>
        </p15:guide>
        <p15:guide id="2" pos="2910">
          <p15:clr>
            <a:srgbClr val="FBAE40"/>
          </p15:clr>
        </p15:guide>
        <p15:guide id="3" orient="horz" pos="1117">
          <p15:clr>
            <a:srgbClr val="FBAE40"/>
          </p15:clr>
        </p15:guide>
        <p15:guide id="4" orient="horz" pos="3861">
          <p15:clr>
            <a:srgbClr val="FBAE40"/>
          </p15:clr>
        </p15:guide>
        <p15:guide id="5" pos="461">
          <p15:clr>
            <a:srgbClr val="FBAE40"/>
          </p15:clr>
        </p15:guide>
        <p15:guide id="6" pos="7219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6388642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838" y="212573"/>
            <a:ext cx="10728325" cy="523220"/>
          </a:xfrm>
        </p:spPr>
        <p:txBody>
          <a:bodyPr lIns="0" tIns="0" rIns="0" bIns="0">
            <a:spAutoFit/>
          </a:bodyPr>
          <a:lstStyle>
            <a:lvl1pPr algn="ctr">
              <a:lnSpc>
                <a:spcPct val="100000"/>
              </a:lnSpc>
              <a:spcBef>
                <a:spcPts val="300"/>
              </a:spcBef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13.02.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9782719" cy="153888"/>
          </a:xfrm>
        </p:spPr>
        <p:txBody>
          <a:bodyPr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C31F6BF0-11B6-44E7-8396-A4C4CF06E29F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0F479CA-E3C8-4ACE-99D5-F1F7391799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1838" y="773460"/>
            <a:ext cx="10728325" cy="246221"/>
          </a:xfrm>
        </p:spPr>
        <p:txBody>
          <a:bodyPr lIns="0" tIns="0" rIns="0" bIns="0">
            <a:sp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B43628-C72B-4E89-965D-086F8357BF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773238"/>
            <a:ext cx="6816724" cy="43561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572377" y="1773238"/>
            <a:ext cx="3887786" cy="4356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9069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64">
          <p15:clr>
            <a:srgbClr val="CCCCCC"/>
          </p15:clr>
        </p15:guide>
        <p15:guide id="2" pos="7216">
          <p15:clr>
            <a:srgbClr val="CCCCCC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ld links_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2142033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B43628-C72B-4E89-965D-086F8357BF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5364162" cy="68580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0" y="986945"/>
            <a:ext cx="5364163" cy="1046440"/>
          </a:xfrm>
        </p:spPr>
        <p:txBody>
          <a:bodyPr lIns="0" tIns="0" rIns="0" bIns="0">
            <a:spAutoFit/>
          </a:bodyPr>
          <a:lstStyle>
            <a:lvl1pPr algn="l">
              <a:lnSpc>
                <a:spcPct val="100000"/>
              </a:lnSpc>
              <a:spcBef>
                <a:spcPts val="300"/>
              </a:spcBef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0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13.02.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783386" y="6568973"/>
            <a:ext cx="4209157" cy="153888"/>
          </a:xfrm>
        </p:spPr>
        <p:txBody>
          <a:bodyPr wrap="square"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C31F6BF0-11B6-44E7-8396-A4C4CF06E29F}" type="slidenum">
              <a:rPr lang="de-DE" smtClean="0"/>
              <a:t>‹Nr.›</a:t>
            </a:fld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0" y="2492375"/>
            <a:ext cx="5364163" cy="363696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330549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64">
          <p15:clr>
            <a:srgbClr val="CCCCCC"/>
          </p15:clr>
        </p15:guide>
        <p15:guide id="2" pos="7216">
          <p15:clr>
            <a:srgbClr val="CCCCCC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_Bild_Kar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DCF6EDC-F177-4B01-8E9B-EAB815736A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5384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DCF6EDC-F177-4B01-8E9B-EAB815736A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11" name="Rectangle 9">
            <a:extLst>
              <a:ext uri="{FF2B5EF4-FFF2-40B4-BE49-F238E27FC236}">
                <a16:creationId xmlns:a16="http://schemas.microsoft.com/office/drawing/2014/main" id="{4541E539-82D7-4793-8E2B-715C223E3C8C}"/>
              </a:ext>
            </a:extLst>
          </p:cNvPr>
          <p:cNvSpPr>
            <a:spLocks/>
          </p:cNvSpPr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0">
            <a:gsLst>
              <a:gs pos="0">
                <a:schemeClr val="accent6"/>
              </a:gs>
              <a:gs pos="100000">
                <a:schemeClr val="accent6">
                  <a:alpha val="70000"/>
                  <a:lumMod val="54000"/>
                </a:schemeClr>
              </a:gs>
            </a:gsLst>
            <a:lin ang="6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pSp>
        <p:nvGrpSpPr>
          <p:cNvPr id="12" name="Group 13">
            <a:extLst>
              <a:ext uri="{FF2B5EF4-FFF2-40B4-BE49-F238E27FC236}">
                <a16:creationId xmlns:a16="http://schemas.microsoft.com/office/drawing/2014/main" id="{06CA8790-D3EA-407F-8B2E-0E297C528B23}"/>
              </a:ext>
            </a:extLst>
          </p:cNvPr>
          <p:cNvGrpSpPr>
            <a:grpSpLocks/>
          </p:cNvGrpSpPr>
          <p:nvPr/>
        </p:nvGrpSpPr>
        <p:grpSpPr>
          <a:xfrm>
            <a:off x="3806758" y="2110902"/>
            <a:ext cx="4578486" cy="2636198"/>
            <a:chOff x="1558925" y="4192858"/>
            <a:chExt cx="9235455" cy="5374888"/>
          </a:xfrm>
        </p:grpSpPr>
        <p:cxnSp>
          <p:nvCxnSpPr>
            <p:cNvPr id="13" name="Straight Connector 15">
              <a:extLst>
                <a:ext uri="{FF2B5EF4-FFF2-40B4-BE49-F238E27FC236}">
                  <a16:creationId xmlns:a16="http://schemas.microsoft.com/office/drawing/2014/main" id="{F02951C3-9DBC-4B82-9BB7-69BA5DAA6302}"/>
                </a:ext>
              </a:extLst>
            </p:cNvPr>
            <p:cNvCxnSpPr/>
            <p:nvPr/>
          </p:nvCxnSpPr>
          <p:spPr>
            <a:xfrm>
              <a:off x="1558925" y="9567746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6">
              <a:extLst>
                <a:ext uri="{FF2B5EF4-FFF2-40B4-BE49-F238E27FC236}">
                  <a16:creationId xmlns:a16="http://schemas.microsoft.com/office/drawing/2014/main" id="{1BD4A5A7-FF45-4B1A-8202-0C3CE0AA2879}"/>
                </a:ext>
              </a:extLst>
            </p:cNvPr>
            <p:cNvCxnSpPr/>
            <p:nvPr/>
          </p:nvCxnSpPr>
          <p:spPr>
            <a:xfrm>
              <a:off x="1558925" y="4192858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31839" y="2710789"/>
            <a:ext cx="10728324" cy="830997"/>
          </a:xfrm>
        </p:spPr>
        <p:txBody>
          <a:bodyPr wrap="square" lIns="0" tIns="0" rIns="0" bIns="0" anchor="ctr">
            <a:spAutoFit/>
          </a:bodyPr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/>
              <a:t>Titelfolie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31839" y="3709040"/>
            <a:ext cx="10728324" cy="307777"/>
          </a:xfr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Untertitel</a:t>
            </a:r>
            <a:endParaRPr lang="de-DE" dirty="0"/>
          </a:p>
        </p:txBody>
      </p:sp>
      <p:pic>
        <p:nvPicPr>
          <p:cNvPr id="15" name="Picture 507" descr="\\LEG001\dat_a_uk\LEG-Darstellung\Logo\_LEG-Logo\_LEG Logo\_LEG_Englisch\LEG_Logo_4c_englisch.gif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5028" y="0"/>
            <a:ext cx="2072972" cy="1041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04089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64">
          <p15:clr>
            <a:srgbClr val="CCCCCC"/>
          </p15:clr>
        </p15:guide>
        <p15:guide id="2" pos="7216">
          <p15:clr>
            <a:srgbClr val="CCCCCC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ld rechts_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2969216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B43628-C72B-4E89-965D-086F8357BF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827837" y="0"/>
            <a:ext cx="5364163" cy="68580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838" y="986945"/>
            <a:ext cx="5364163" cy="1046440"/>
          </a:xfrm>
        </p:spPr>
        <p:txBody>
          <a:bodyPr lIns="0" tIns="0" rIns="0" bIns="0">
            <a:spAutoFit/>
          </a:bodyPr>
          <a:lstStyle>
            <a:lvl1pPr algn="l">
              <a:lnSpc>
                <a:spcPct val="100000"/>
              </a:lnSpc>
              <a:spcBef>
                <a:spcPts val="300"/>
              </a:spcBef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13.02.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5105943" cy="153888"/>
          </a:xfrm>
        </p:spPr>
        <p:txBody>
          <a:bodyPr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C31F6BF0-11B6-44E7-8396-A4C4CF06E29F}" type="slidenum">
              <a:rPr lang="de-DE" smtClean="0"/>
              <a:t>‹Nr.›</a:t>
            </a:fld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838" y="2492375"/>
            <a:ext cx="5364163" cy="363696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62446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64">
          <p15:clr>
            <a:srgbClr val="CCCCCC"/>
          </p15:clr>
        </p15:guide>
        <p15:guide id="2" pos="7216">
          <p15:clr>
            <a:srgbClr val="CCCCCC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ld_blaue 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4424647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B43628-C72B-4E89-965D-086F8357BF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5364162" cy="68580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0" y="986945"/>
            <a:ext cx="5364163" cy="1046440"/>
          </a:xfrm>
        </p:spPr>
        <p:txBody>
          <a:bodyPr lIns="0" tIns="0" rIns="0" bIns="0">
            <a:spAutoFit/>
          </a:bodyPr>
          <a:lstStyle>
            <a:lvl1pPr algn="l">
              <a:lnSpc>
                <a:spcPct val="100000"/>
              </a:lnSpc>
              <a:spcBef>
                <a:spcPts val="300"/>
              </a:spcBef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C31F6BF0-11B6-44E7-8396-A4C4CF06E29F}" type="slidenum">
              <a:rPr lang="de-DE" smtClean="0"/>
              <a:t>‹Nr.›</a:t>
            </a:fld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0" y="2492375"/>
            <a:ext cx="5364163" cy="363696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06034BA3-4E23-4342-B0DE-CA9287FCE22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82083" y="0"/>
            <a:ext cx="2682081" cy="6858000"/>
          </a:xfrm>
          <a:gradFill flip="none" rotWithShape="0">
            <a:gsLst>
              <a:gs pos="0">
                <a:schemeClr val="accent6"/>
              </a:gs>
              <a:gs pos="100000">
                <a:schemeClr val="accent6">
                  <a:alpha val="70000"/>
                  <a:lumMod val="54000"/>
                </a:schemeClr>
              </a:gs>
            </a:gsLst>
            <a:lin ang="6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>
            <a:normAutofit/>
          </a:bodyPr>
          <a:lstStyle>
            <a:lvl1pPr marL="0" indent="0" algn="l">
              <a:buNone/>
              <a:defRPr lang="en-GB" sz="1800" dirty="0">
                <a:solidFill>
                  <a:schemeClr val="lt1"/>
                </a:solidFill>
              </a:defRPr>
            </a:lvl1pPr>
          </a:lstStyle>
          <a:p>
            <a:pPr marL="179388" lvl="0" indent="-179388" algn="ctr" defTabSz="457200"/>
            <a:r>
              <a:rPr lang="en-GB" dirty="0"/>
              <a:t> 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2973732" y="1052736"/>
            <a:ext cx="2098782" cy="461665"/>
          </a:xfrm>
        </p:spPr>
        <p:txBody>
          <a:bodyPr vert="horz" wrap="square" lIns="0" tIns="0" rIns="0" bIns="0" rtlCol="0" anchor="t">
            <a:spAutoFit/>
          </a:bodyPr>
          <a:lstStyle>
            <a:lvl1pPr marL="0" indent="0">
              <a:buNone/>
              <a:defRPr lang="de-DE" sz="3000" b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de-DE" sz="1800" smtClean="0"/>
            </a:lvl2pPr>
            <a:lvl3pPr>
              <a:defRPr lang="de-DE" sz="1800" smtClean="0"/>
            </a:lvl3pPr>
            <a:lvl4pPr>
              <a:defRPr lang="de-DE" sz="1800" smtClean="0"/>
            </a:lvl4pPr>
            <a:lvl5pPr>
              <a:defRPr lang="de-DE" sz="1800"/>
            </a:lvl5pPr>
          </a:lstStyle>
          <a:p>
            <a:pPr marL="277812" lvl="0" indent="-457200">
              <a:spcBef>
                <a:spcPct val="0"/>
              </a:spcBef>
            </a:pPr>
            <a:r>
              <a:rPr lang="de-DE" dirty="0"/>
              <a:t>Text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A0A29180-627F-4549-B520-E6568305CD9C}"/>
              </a:ext>
            </a:extLst>
          </p:cNvPr>
          <p:cNvSpPr/>
          <p:nvPr/>
        </p:nvSpPr>
        <p:spPr>
          <a:xfrm>
            <a:off x="12432704" y="18728"/>
            <a:ext cx="1620000" cy="249299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algn="l"/>
            <a:r>
              <a:rPr lang="de-DE" sz="1200" b="1" dirty="0"/>
              <a:t>Bild einfügen</a:t>
            </a:r>
            <a:endParaRPr lang="de-DE" sz="1200" b="1" baseline="0" dirty="0"/>
          </a:p>
          <a:p>
            <a:pPr algn="l"/>
            <a:endParaRPr lang="de-DE" sz="1200" b="1" baseline="0" dirty="0"/>
          </a:p>
          <a:p>
            <a:pPr algn="l"/>
            <a:r>
              <a:rPr lang="de-DE" sz="1200" b="1" dirty="0"/>
              <a:t>1.</a:t>
            </a:r>
            <a:r>
              <a:rPr lang="de-DE" sz="1200" b="0" baseline="0" dirty="0"/>
              <a:t> Gewünschtes Bild einfügen. </a:t>
            </a:r>
            <a:r>
              <a:rPr lang="de-DE" sz="1200" dirty="0"/>
              <a:t>Klicken sie dazu auf das Bild-Icon in der Mitte des Platzhalters.</a:t>
            </a:r>
          </a:p>
          <a:p>
            <a:pPr algn="l"/>
            <a:endParaRPr lang="de-DE" sz="1200" dirty="0"/>
          </a:p>
          <a:p>
            <a:pPr algn="l"/>
            <a:r>
              <a:rPr lang="de-DE" sz="1200" b="1" dirty="0"/>
              <a:t>2. </a:t>
            </a:r>
            <a:r>
              <a:rPr lang="de-DE" sz="1200" dirty="0"/>
              <a:t>Haben Sie das gewünschte Bild eingefügt</a:t>
            </a:r>
            <a:br>
              <a:rPr lang="de-DE" sz="1200" dirty="0"/>
            </a:br>
            <a:r>
              <a:rPr lang="de-DE" sz="1200" b="1" i="1" dirty="0"/>
              <a:t>Rechtsklick </a:t>
            </a:r>
            <a:r>
              <a:rPr lang="de-DE" sz="1200" b="1" i="1" dirty="0">
                <a:sym typeface="Wingdings" panose="05000000000000000000" pitchFamily="2" charset="2"/>
              </a:rPr>
              <a:t></a:t>
            </a:r>
            <a:br>
              <a:rPr lang="de-DE" sz="1200" b="1" i="1" dirty="0">
                <a:sym typeface="Wingdings" panose="05000000000000000000" pitchFamily="2" charset="2"/>
              </a:rPr>
            </a:br>
            <a:r>
              <a:rPr lang="de-DE" sz="1200" b="1" i="0" dirty="0">
                <a:solidFill>
                  <a:srgbClr val="FF0000"/>
                </a:solidFill>
                <a:highlight>
                  <a:srgbClr val="F9F9F9"/>
                </a:highlight>
                <a:sym typeface="Wingdings" panose="05000000000000000000" pitchFamily="2" charset="2"/>
              </a:rPr>
              <a:t>In den Hintergrund </a:t>
            </a: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0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13.02.2025</a:t>
            </a:r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783386" y="6568973"/>
            <a:ext cx="4209157" cy="153888"/>
          </a:xfrm>
        </p:spPr>
        <p:txBody>
          <a:bodyPr wrap="square"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34813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64">
          <p15:clr>
            <a:srgbClr val="CCCCCC"/>
          </p15:clr>
        </p15:guide>
        <p15:guide id="2" pos="7216">
          <p15:clr>
            <a:srgbClr val="CCCCCC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_blaue Text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248325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CA891489-A975-4995-9837-165DB51E0782}"/>
              </a:ext>
            </a:extLst>
          </p:cNvPr>
          <p:cNvSpPr>
            <a:spLocks/>
          </p:cNvSpPr>
          <p:nvPr/>
        </p:nvSpPr>
        <p:spPr>
          <a:xfrm>
            <a:off x="6276001" y="1773238"/>
            <a:ext cx="5915999" cy="43561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838" y="212573"/>
            <a:ext cx="10728325" cy="523220"/>
          </a:xfrm>
        </p:spPr>
        <p:txBody>
          <a:bodyPr lIns="0" tIns="0" rIns="0" bIns="0">
            <a:spAutoFit/>
          </a:bodyPr>
          <a:lstStyle>
            <a:lvl1pPr algn="ctr">
              <a:lnSpc>
                <a:spcPct val="100000"/>
              </a:lnSpc>
              <a:spcBef>
                <a:spcPts val="300"/>
              </a:spcBef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718914BC-99FD-40E0-A791-738784804266}" type="datetimeFigureOut">
              <a:rPr lang="de-DE" smtClean="0"/>
              <a:t>24.02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9782719" cy="153888"/>
          </a:xfrm>
        </p:spPr>
        <p:txBody>
          <a:bodyPr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C31F6BF0-11B6-44E7-8396-A4C4CF06E29F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0F479CA-E3C8-4ACE-99D5-F1F7391799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1838" y="773460"/>
            <a:ext cx="10728325" cy="246221"/>
          </a:xfrm>
        </p:spPr>
        <p:txBody>
          <a:bodyPr lIns="0" tIns="0" rIns="0" bIns="0">
            <a:sp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B43628-C72B-4E89-965D-086F8357BF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1773238"/>
            <a:ext cx="5915999" cy="43561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46715" y="2057126"/>
            <a:ext cx="4913447" cy="3788324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821687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orient="horz" pos="1117">
          <p15:clr>
            <a:srgbClr val="FBAE40"/>
          </p15:clr>
        </p15:guide>
        <p15:guide id="4" orient="horz" pos="3861">
          <p15:clr>
            <a:srgbClr val="FBAE40"/>
          </p15:clr>
        </p15:guide>
        <p15:guide id="5" pos="461">
          <p15:clr>
            <a:srgbClr val="FBAE40"/>
          </p15:clr>
        </p15:guide>
        <p15:guide id="6" pos="7219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ld_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4116261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B43628-C72B-4E89-965D-086F8357BF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3093396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838" y="3824288"/>
            <a:ext cx="3567787" cy="1046440"/>
          </a:xfrm>
        </p:spPr>
        <p:txBody>
          <a:bodyPr wrap="square" lIns="0" tIns="0" rIns="0" bIns="0" anchor="t">
            <a:spAutoFit/>
          </a:bodyPr>
          <a:lstStyle>
            <a:lvl1pPr algn="l">
              <a:lnSpc>
                <a:spcPct val="100000"/>
              </a:lnSpc>
              <a:spcBef>
                <a:spcPts val="300"/>
              </a:spcBef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718914BC-99FD-40E0-A791-738784804266}" type="datetimeFigureOut">
              <a:rPr lang="de-DE" smtClean="0"/>
              <a:t>24.02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5105943" cy="153888"/>
          </a:xfrm>
        </p:spPr>
        <p:txBody>
          <a:bodyPr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C31F6BF0-11B6-44E7-8396-A4C4CF06E29F}" type="slidenum">
              <a:rPr lang="de-DE" smtClean="0"/>
              <a:t>‹Nr.›</a:t>
            </a:fld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7938" y="3824288"/>
            <a:ext cx="6372225" cy="2305050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192623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61">
          <p15:clr>
            <a:srgbClr val="FBAE40"/>
          </p15:clr>
        </p15:guide>
        <p15:guide id="2" orient="horz" pos="2409">
          <p15:clr>
            <a:srgbClr val="FBAE40"/>
          </p15:clr>
        </p15:guide>
        <p15:guide id="3" pos="7219">
          <p15:clr>
            <a:srgbClr val="FBAE40"/>
          </p15:clr>
        </p15:guide>
        <p15:guide id="4" orient="horz" pos="3861">
          <p15:clr>
            <a:srgbClr val="FBAE40"/>
          </p15:clr>
        </p15:guide>
        <p15:guide id="5" pos="3205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Bilder_Text Mi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3891560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CA891489-A975-4995-9837-165DB51E0782}"/>
              </a:ext>
            </a:extLst>
          </p:cNvPr>
          <p:cNvSpPr>
            <a:spLocks/>
          </p:cNvSpPr>
          <p:nvPr/>
        </p:nvSpPr>
        <p:spPr>
          <a:xfrm>
            <a:off x="4837105" y="1773238"/>
            <a:ext cx="2517804" cy="4356100"/>
          </a:xfrm>
          <a:prstGeom prst="rect">
            <a:avLst/>
          </a:prstGeom>
          <a:noFill/>
          <a:ln w="19050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718914BC-99FD-40E0-A791-738784804266}" type="datetimeFigureOut">
              <a:rPr lang="de-DE" smtClean="0"/>
              <a:t>24.02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9782719" cy="153888"/>
          </a:xfrm>
        </p:spPr>
        <p:txBody>
          <a:bodyPr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C31F6BF0-11B6-44E7-8396-A4C4CF06E29F}" type="slidenum">
              <a:rPr lang="de-DE" smtClean="0"/>
              <a:t>‹Nr.›</a:t>
            </a:fld>
            <a:endParaRPr lang="de-DE"/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B43628-C72B-4E89-965D-086F8357BF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4" y="1773238"/>
            <a:ext cx="4475999" cy="43561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74603" y="3574675"/>
            <a:ext cx="2042808" cy="20381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defRPr sz="1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Bildplatzhalter 9">
            <a:extLst>
              <a:ext uri="{FF2B5EF4-FFF2-40B4-BE49-F238E27FC236}">
                <a16:creationId xmlns:a16="http://schemas.microsoft.com/office/drawing/2014/main" id="{A68B3DDB-CD72-4BCA-B6D5-C46AFE36BBC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716001" y="1773238"/>
            <a:ext cx="4475999" cy="43561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751738A-69A6-450E-9F1E-64087C35FF3C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5074603" y="2858041"/>
            <a:ext cx="2042808" cy="276999"/>
          </a:xfrm>
        </p:spPr>
        <p:txBody>
          <a:bodyPr anchor="b">
            <a:spAutoFit/>
          </a:bodyPr>
          <a:lstStyle>
            <a:lvl1pPr marL="0" indent="0" algn="ctr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2000">
                <a:solidFill>
                  <a:schemeClr val="tx2"/>
                </a:solidFill>
              </a:defRPr>
            </a:lvl1pPr>
            <a:lvl2pPr marL="179387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2pPr>
            <a:lvl3pPr marL="358775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538162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4pPr>
            <a:lvl5pPr marL="71755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731838" y="552420"/>
            <a:ext cx="10728325" cy="523220"/>
          </a:xfrm>
        </p:spPr>
        <p:txBody>
          <a:bodyPr lIns="0" tIns="0" rIns="0" bIns="0" anchor="b">
            <a:spAutoFit/>
          </a:bodyPr>
          <a:lstStyle>
            <a:lvl1pPr algn="ctr">
              <a:lnSpc>
                <a:spcPct val="100000"/>
              </a:lnSpc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37747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orient="horz" pos="1117">
          <p15:clr>
            <a:srgbClr val="FBAE40"/>
          </p15:clr>
        </p15:guide>
        <p15:guide id="4" orient="horz" pos="3861">
          <p15:clr>
            <a:srgbClr val="FBAE40"/>
          </p15:clr>
        </p15:guide>
        <p15:guide id="5" pos="461">
          <p15:clr>
            <a:srgbClr val="FBAE40"/>
          </p15:clr>
        </p15:guide>
        <p15:guide id="6" pos="7219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Bilder_ blaue Fläche mi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3357404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2F80D41E-AF08-44EF-9091-1801C740C61F}"/>
              </a:ext>
            </a:extLst>
          </p:cNvPr>
          <p:cNvSpPr>
            <a:spLocks/>
          </p:cNvSpPr>
          <p:nvPr/>
        </p:nvSpPr>
        <p:spPr>
          <a:xfrm>
            <a:off x="4064009" y="1773239"/>
            <a:ext cx="4063995" cy="23999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838" y="212573"/>
            <a:ext cx="10728325" cy="523220"/>
          </a:xfrm>
        </p:spPr>
        <p:txBody>
          <a:bodyPr lIns="0" tIns="0" rIns="0" bIns="0">
            <a:spAutoFit/>
          </a:bodyPr>
          <a:lstStyle>
            <a:lvl1pPr algn="ctr">
              <a:lnSpc>
                <a:spcPct val="100000"/>
              </a:lnSpc>
              <a:spcBef>
                <a:spcPts val="300"/>
              </a:spcBef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13.02.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9782719" cy="153888"/>
          </a:xfrm>
        </p:spPr>
        <p:txBody>
          <a:bodyPr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C31F6BF0-11B6-44E7-8396-A4C4CF06E29F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0F479CA-E3C8-4ACE-99D5-F1F7391799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1838" y="773460"/>
            <a:ext cx="10728325" cy="246221"/>
          </a:xfrm>
        </p:spPr>
        <p:txBody>
          <a:bodyPr lIns="0" tIns="0" rIns="0" bIns="0">
            <a:sp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B43628-C72B-4E89-965D-086F8357BF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3" y="1773239"/>
            <a:ext cx="4063995" cy="2399928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837" y="4601182"/>
            <a:ext cx="10728325" cy="152815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6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6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defRPr sz="16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defRPr sz="1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Bildplatzhalter 9">
            <a:extLst>
              <a:ext uri="{FF2B5EF4-FFF2-40B4-BE49-F238E27FC236}">
                <a16:creationId xmlns:a16="http://schemas.microsoft.com/office/drawing/2014/main" id="{A68B3DDB-CD72-4BCA-B6D5-C46AFE36BBC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28005" y="1773239"/>
            <a:ext cx="4063995" cy="2399928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53EAF62C-E018-4CB3-B20B-1B89D06CE6EB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4594712" y="2850203"/>
            <a:ext cx="3002590" cy="739302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 marL="179387" indent="0" algn="ctr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358775" indent="0" algn="ctr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3pPr>
            <a:lvl4pPr marL="538162" indent="0" algn="ctr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4pPr>
            <a:lvl5pPr marL="717550" indent="0" algn="ctr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6851378D-E609-46D5-A618-66087BB247B7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594712" y="2373634"/>
            <a:ext cx="3002590" cy="369332"/>
          </a:xfrm>
        </p:spPr>
        <p:txBody>
          <a:bodyPr wrap="square" anchor="b">
            <a:sp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179387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2pPr>
            <a:lvl3pPr marL="358775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538162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4pPr>
            <a:lvl5pPr marL="71755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de-DE" dirty="0"/>
              <a:t>Überschrift</a:t>
            </a:r>
          </a:p>
        </p:txBody>
      </p:sp>
    </p:spTree>
    <p:extLst>
      <p:ext uri="{BB962C8B-B14F-4D97-AF65-F5344CB8AC3E}">
        <p14:creationId xmlns:p14="http://schemas.microsoft.com/office/powerpoint/2010/main" val="41056210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orient="horz" pos="1117">
          <p15:clr>
            <a:srgbClr val="FBAE40"/>
          </p15:clr>
        </p15:guide>
        <p15:guide id="4" orient="horz" pos="3861">
          <p15:clr>
            <a:srgbClr val="FBAE40"/>
          </p15:clr>
        </p15:guide>
        <p15:guide id="5" pos="461">
          <p15:clr>
            <a:srgbClr val="FBAE40"/>
          </p15:clr>
        </p15:guide>
        <p15:guide id="6" pos="7219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lder_Text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7077516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838" y="212573"/>
            <a:ext cx="10728325" cy="523220"/>
          </a:xfrm>
        </p:spPr>
        <p:txBody>
          <a:bodyPr lIns="0" tIns="0" rIns="0" bIns="0">
            <a:spAutoFit/>
          </a:bodyPr>
          <a:lstStyle>
            <a:lvl1pPr algn="ctr">
              <a:lnSpc>
                <a:spcPct val="100000"/>
              </a:lnSpc>
              <a:spcBef>
                <a:spcPts val="300"/>
              </a:spcBef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13.02.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9782719" cy="153888"/>
          </a:xfrm>
        </p:spPr>
        <p:txBody>
          <a:bodyPr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C31F6BF0-11B6-44E7-8396-A4C4CF06E29F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0F479CA-E3C8-4ACE-99D5-F1F7391799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1838" y="773460"/>
            <a:ext cx="10728325" cy="246221"/>
          </a:xfrm>
        </p:spPr>
        <p:txBody>
          <a:bodyPr lIns="0" tIns="0" rIns="0" bIns="0">
            <a:sp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B43628-C72B-4E89-965D-086F8357BF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02530" y="1773238"/>
            <a:ext cx="2432544" cy="4357548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2" name="Bildplatzhalter 9">
            <a:extLst>
              <a:ext uri="{FF2B5EF4-FFF2-40B4-BE49-F238E27FC236}">
                <a16:creationId xmlns:a16="http://schemas.microsoft.com/office/drawing/2014/main" id="{A662C4E2-1E6D-4BE9-A0A4-ED48EB2245E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415074" y="1773238"/>
            <a:ext cx="2432544" cy="4357548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3" name="Bildplatzhalter 9">
            <a:extLst>
              <a:ext uri="{FF2B5EF4-FFF2-40B4-BE49-F238E27FC236}">
                <a16:creationId xmlns:a16="http://schemas.microsoft.com/office/drawing/2014/main" id="{2EEA3BC9-FFCA-4710-869B-95BB187FE88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027619" y="1773238"/>
            <a:ext cx="2432544" cy="4357548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DD5E3E0A-F708-49AD-B11F-F78E45105B3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31838" y="2558374"/>
            <a:ext cx="2838215" cy="357241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1600"/>
            </a:lvl1pPr>
            <a:lvl2pPr>
              <a:lnSpc>
                <a:spcPct val="100000"/>
              </a:lnSpc>
              <a:spcBef>
                <a:spcPts val="400"/>
              </a:spcBef>
              <a:defRPr sz="1600"/>
            </a:lvl2pPr>
            <a:lvl3pPr>
              <a:lnSpc>
                <a:spcPct val="100000"/>
              </a:lnSpc>
              <a:spcBef>
                <a:spcPts val="400"/>
              </a:spcBef>
              <a:defRPr sz="1600"/>
            </a:lvl3pPr>
            <a:lvl4pPr>
              <a:lnSpc>
                <a:spcPct val="100000"/>
              </a:lnSpc>
              <a:spcBef>
                <a:spcPts val="400"/>
              </a:spcBef>
              <a:defRPr sz="1600"/>
            </a:lvl4pPr>
            <a:lvl5pPr>
              <a:lnSpc>
                <a:spcPct val="100000"/>
              </a:lnSpc>
              <a:spcBef>
                <a:spcPts val="400"/>
              </a:spcBef>
              <a:defRPr sz="16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2382B2BD-BFE7-4EE8-9EA1-44AC24477C4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31838" y="1773238"/>
            <a:ext cx="2838215" cy="553998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2000">
                <a:solidFill>
                  <a:schemeClr val="tx2"/>
                </a:solidFill>
              </a:defRPr>
            </a:lvl1pPr>
            <a:lvl2pPr marL="179387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2pPr>
            <a:lvl3pPr marL="358775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538162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4pPr>
            <a:lvl5pPr marL="71755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de-DE" dirty="0"/>
              <a:t>Überschrift</a:t>
            </a:r>
          </a:p>
        </p:txBody>
      </p:sp>
    </p:spTree>
    <p:extLst>
      <p:ext uri="{BB962C8B-B14F-4D97-AF65-F5344CB8AC3E}">
        <p14:creationId xmlns:p14="http://schemas.microsoft.com/office/powerpoint/2010/main" val="26647622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1117">
          <p15:clr>
            <a:srgbClr val="FBAE40"/>
          </p15:clr>
        </p15:guide>
        <p15:guide id="4" orient="horz" pos="3861">
          <p15:clr>
            <a:srgbClr val="FBAE40"/>
          </p15:clr>
        </p15:guide>
        <p15:guide id="5" pos="461">
          <p15:clr>
            <a:srgbClr val="FBAE40"/>
          </p15:clr>
        </p15:guide>
        <p15:guide id="6" pos="7219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lder_Text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6358624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838" y="212573"/>
            <a:ext cx="10728325" cy="523220"/>
          </a:xfrm>
        </p:spPr>
        <p:txBody>
          <a:bodyPr lIns="0" tIns="0" rIns="0" bIns="0">
            <a:spAutoFit/>
          </a:bodyPr>
          <a:lstStyle>
            <a:lvl1pPr algn="ctr">
              <a:lnSpc>
                <a:spcPct val="100000"/>
              </a:lnSpc>
              <a:spcBef>
                <a:spcPts val="300"/>
              </a:spcBef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13.02.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9782719" cy="153888"/>
          </a:xfrm>
        </p:spPr>
        <p:txBody>
          <a:bodyPr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C31F6BF0-11B6-44E7-8396-A4C4CF06E29F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0F479CA-E3C8-4ACE-99D5-F1F7391799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1838" y="773460"/>
            <a:ext cx="10728325" cy="246221"/>
          </a:xfrm>
        </p:spPr>
        <p:txBody>
          <a:bodyPr lIns="0" tIns="0" rIns="0" bIns="0">
            <a:sp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B43628-C72B-4E89-965D-086F8357BF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591112" y="1773238"/>
            <a:ext cx="2838215" cy="20160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62674" y="4638675"/>
            <a:ext cx="2838215" cy="149211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1400"/>
            </a:lvl1pPr>
            <a:lvl2pPr>
              <a:lnSpc>
                <a:spcPct val="100000"/>
              </a:lnSpc>
              <a:spcBef>
                <a:spcPts val="400"/>
              </a:spcBef>
              <a:defRPr sz="1400"/>
            </a:lvl2pPr>
            <a:lvl3pPr>
              <a:lnSpc>
                <a:spcPct val="100000"/>
              </a:lnSpc>
              <a:spcBef>
                <a:spcPts val="400"/>
              </a:spcBef>
              <a:defRPr sz="1400"/>
            </a:lvl3pPr>
            <a:lvl4pPr>
              <a:lnSpc>
                <a:spcPct val="100000"/>
              </a:lnSpc>
              <a:spcBef>
                <a:spcPts val="400"/>
              </a:spcBef>
              <a:defRPr sz="1400"/>
            </a:lvl4pPr>
            <a:lvl5pPr>
              <a:lnSpc>
                <a:spcPct val="100000"/>
              </a:lnSpc>
              <a:spcBef>
                <a:spcPts val="400"/>
              </a:spcBef>
              <a:defRPr sz="14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Bildplatzhalter 9">
            <a:extLst>
              <a:ext uri="{FF2B5EF4-FFF2-40B4-BE49-F238E27FC236}">
                <a16:creationId xmlns:a16="http://schemas.microsoft.com/office/drawing/2014/main" id="{A662C4E2-1E6D-4BE9-A0A4-ED48EB2245E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76893" y="1773238"/>
            <a:ext cx="2838215" cy="20160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3" name="Bildplatzhalter 9">
            <a:extLst>
              <a:ext uri="{FF2B5EF4-FFF2-40B4-BE49-F238E27FC236}">
                <a16:creationId xmlns:a16="http://schemas.microsoft.com/office/drawing/2014/main" id="{2EEA3BC9-FFCA-4710-869B-95BB187FE88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762674" y="1773238"/>
            <a:ext cx="2838215" cy="20160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49B42DD-E72C-4AB7-87D1-28C206582074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4676893" y="4638675"/>
            <a:ext cx="2838215" cy="149211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1400"/>
            </a:lvl1pPr>
            <a:lvl2pPr>
              <a:lnSpc>
                <a:spcPct val="100000"/>
              </a:lnSpc>
              <a:spcBef>
                <a:spcPts val="400"/>
              </a:spcBef>
              <a:defRPr sz="1400"/>
            </a:lvl2pPr>
            <a:lvl3pPr>
              <a:lnSpc>
                <a:spcPct val="100000"/>
              </a:lnSpc>
              <a:spcBef>
                <a:spcPts val="400"/>
              </a:spcBef>
              <a:defRPr sz="1400"/>
            </a:lvl3pPr>
            <a:lvl4pPr>
              <a:lnSpc>
                <a:spcPct val="100000"/>
              </a:lnSpc>
              <a:spcBef>
                <a:spcPts val="400"/>
              </a:spcBef>
              <a:defRPr sz="1400"/>
            </a:lvl4pPr>
            <a:lvl5pPr>
              <a:lnSpc>
                <a:spcPct val="100000"/>
              </a:lnSpc>
              <a:spcBef>
                <a:spcPts val="400"/>
              </a:spcBef>
              <a:defRPr sz="14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DD5E3E0A-F708-49AD-B11F-F78E45105B3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1591112" y="4638675"/>
            <a:ext cx="2838215" cy="149211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1400"/>
            </a:lvl1pPr>
            <a:lvl2pPr>
              <a:lnSpc>
                <a:spcPct val="100000"/>
              </a:lnSpc>
              <a:spcBef>
                <a:spcPts val="400"/>
              </a:spcBef>
              <a:defRPr sz="1400"/>
            </a:lvl2pPr>
            <a:lvl3pPr>
              <a:lnSpc>
                <a:spcPct val="100000"/>
              </a:lnSpc>
              <a:spcBef>
                <a:spcPts val="400"/>
              </a:spcBef>
              <a:defRPr sz="1400"/>
            </a:lvl3pPr>
            <a:lvl4pPr>
              <a:lnSpc>
                <a:spcPct val="100000"/>
              </a:lnSpc>
              <a:spcBef>
                <a:spcPts val="400"/>
              </a:spcBef>
              <a:defRPr sz="1400"/>
            </a:lvl4pPr>
            <a:lvl5pPr>
              <a:lnSpc>
                <a:spcPct val="100000"/>
              </a:lnSpc>
              <a:spcBef>
                <a:spcPts val="400"/>
              </a:spcBef>
              <a:defRPr sz="14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2382B2BD-BFE7-4EE8-9EA1-44AC24477C4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1591112" y="3904158"/>
            <a:ext cx="2838215" cy="249299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>
                <a:solidFill>
                  <a:schemeClr val="tx2"/>
                </a:solidFill>
              </a:defRPr>
            </a:lvl1pPr>
            <a:lvl2pPr marL="179387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2pPr>
            <a:lvl3pPr marL="358775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538162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4pPr>
            <a:lvl5pPr marL="71755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2900D99-3563-4B33-9CCC-584A4ACD6604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676893" y="3904158"/>
            <a:ext cx="2838215" cy="249299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>
                <a:solidFill>
                  <a:schemeClr val="tx2"/>
                </a:solidFill>
              </a:defRPr>
            </a:lvl1pPr>
            <a:lvl2pPr marL="179387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2pPr>
            <a:lvl3pPr marL="358775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538162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4pPr>
            <a:lvl5pPr marL="71755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5340A24-2670-4290-8A52-907815A70A20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7762674" y="3904158"/>
            <a:ext cx="2838215" cy="249299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>
                <a:solidFill>
                  <a:schemeClr val="tx2"/>
                </a:solidFill>
              </a:defRPr>
            </a:lvl1pPr>
            <a:lvl2pPr marL="179387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2pPr>
            <a:lvl3pPr marL="358775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538162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4pPr>
            <a:lvl5pPr marL="71755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5BA5501F-F55F-4B97-B199-973F038AF52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1591112" y="4172913"/>
            <a:ext cx="2838215" cy="166199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00" b="0" i="1">
                <a:solidFill>
                  <a:schemeClr val="tx1"/>
                </a:solidFill>
              </a:defRPr>
            </a:lvl1pPr>
            <a:lvl2pPr marL="179387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2pPr>
            <a:lvl3pPr marL="358775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538162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4pPr>
            <a:lvl5pPr marL="71755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de-DE" dirty="0" err="1"/>
              <a:t>Subtitel</a:t>
            </a:r>
            <a:endParaRPr lang="de-DE" dirty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0E42BAA3-7C72-45C7-85E2-E281C6A084C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676893" y="4172913"/>
            <a:ext cx="2838215" cy="166199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00" i="1">
                <a:solidFill>
                  <a:schemeClr val="tx1"/>
                </a:solidFill>
              </a:defRPr>
            </a:lvl1pPr>
            <a:lvl2pPr marL="179387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2pPr>
            <a:lvl3pPr marL="358775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538162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4pPr>
            <a:lvl5pPr marL="71755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de-DE" dirty="0" err="1"/>
              <a:t>Subtitel</a:t>
            </a:r>
            <a:endParaRPr lang="de-DE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87B07B0E-6E98-4B1E-9664-0973514586F2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762674" y="4172913"/>
            <a:ext cx="2838215" cy="166199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00" i="1">
                <a:solidFill>
                  <a:schemeClr val="tx1"/>
                </a:solidFill>
              </a:defRPr>
            </a:lvl1pPr>
            <a:lvl2pPr marL="179387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2pPr>
            <a:lvl3pPr marL="358775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538162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4pPr>
            <a:lvl5pPr marL="71755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de-DE" dirty="0" err="1"/>
              <a:t>Subt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54523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1117">
          <p15:clr>
            <a:srgbClr val="FBAE40"/>
          </p15:clr>
        </p15:guide>
        <p15:guide id="4" orient="horz" pos="3861">
          <p15:clr>
            <a:srgbClr val="FBAE40"/>
          </p15:clr>
        </p15:guide>
        <p15:guide id="5" pos="461">
          <p15:clr>
            <a:srgbClr val="FBAE40"/>
          </p15:clr>
        </p15:guide>
        <p15:guide id="6" pos="7219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3950181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12" name="Bildplatzhalter 9">
            <a:extLst>
              <a:ext uri="{FF2B5EF4-FFF2-40B4-BE49-F238E27FC236}">
                <a16:creationId xmlns:a16="http://schemas.microsoft.com/office/drawing/2014/main" id="{D9422C11-C775-49C7-BF58-EE0C77B9355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4562271"/>
            <a:ext cx="2975999" cy="2295728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B43628-C72B-4E89-965D-086F8357BF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2975999" cy="4427132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838" y="1384428"/>
            <a:ext cx="4621618" cy="1046440"/>
          </a:xfr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spcBef>
                <a:spcPts val="300"/>
              </a:spcBef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718914BC-99FD-40E0-A791-738784804266}" type="datetimeFigureOut">
              <a:rPr lang="de-DE" smtClean="0"/>
              <a:t>24.02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4363398" cy="153888"/>
          </a:xfrm>
        </p:spPr>
        <p:txBody>
          <a:bodyPr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C31F6BF0-11B6-44E7-8396-A4C4CF06E29F}" type="slidenum">
              <a:rPr lang="de-DE" smtClean="0"/>
              <a:t>‹Nr.›</a:t>
            </a:fld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838" y="3094438"/>
            <a:ext cx="4621618" cy="2880299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Bildplatzhalter 9">
            <a:extLst>
              <a:ext uri="{FF2B5EF4-FFF2-40B4-BE49-F238E27FC236}">
                <a16:creationId xmlns:a16="http://schemas.microsoft.com/office/drawing/2014/main" id="{95E9E5CF-07F2-4D04-9EEE-47FC165F8B1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215999" y="2430867"/>
            <a:ext cx="2975999" cy="4427132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4" name="Bildplatzhalter 9">
            <a:extLst>
              <a:ext uri="{FF2B5EF4-FFF2-40B4-BE49-F238E27FC236}">
                <a16:creationId xmlns:a16="http://schemas.microsoft.com/office/drawing/2014/main" id="{4ADC91AD-0A8F-4779-8109-66D7B245D51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215999" y="0"/>
            <a:ext cx="2975999" cy="2295728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155138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61">
          <p15:clr>
            <a:srgbClr val="FBAE40"/>
          </p15:clr>
        </p15:guide>
        <p15:guide id="3" pos="384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ontakt_allgem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9593297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B43628-C72B-4E89-965D-086F8357BF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-1"/>
            <a:ext cx="12192000" cy="3681413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FD1B9A78-C004-49FB-8BDA-D0AC5DFCE2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90974" y="1095027"/>
            <a:ext cx="4210052" cy="2586385"/>
          </a:xfrm>
          <a:gradFill flip="none" rotWithShape="0">
            <a:gsLst>
              <a:gs pos="0">
                <a:schemeClr val="accent6"/>
              </a:gs>
              <a:gs pos="100000">
                <a:schemeClr val="accent6">
                  <a:alpha val="70000"/>
                  <a:lumMod val="54000"/>
                </a:schemeClr>
              </a:gs>
            </a:gsLst>
            <a:lin ang="6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>
            <a:normAutofit/>
          </a:bodyPr>
          <a:lstStyle>
            <a:lvl1pPr marL="0" indent="0" algn="l">
              <a:buNone/>
              <a:defRPr lang="en-GB" sz="1800" dirty="0">
                <a:solidFill>
                  <a:schemeClr val="lt1"/>
                </a:solidFill>
              </a:defRPr>
            </a:lvl1pPr>
          </a:lstStyle>
          <a:p>
            <a:pPr marL="179388" lvl="0" indent="-179388" algn="ctr" defTabSz="457200"/>
            <a:r>
              <a:rPr lang="en-GB" dirty="0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838" y="4051064"/>
            <a:ext cx="10728325" cy="523220"/>
          </a:xfrm>
        </p:spPr>
        <p:txBody>
          <a:bodyPr wrap="square" lIns="0" tIns="0" rIns="0" bIns="0" anchor="t">
            <a:spAutoFit/>
          </a:bodyPr>
          <a:lstStyle>
            <a:lvl1pPr algn="ctr">
              <a:lnSpc>
                <a:spcPct val="100000"/>
              </a:lnSpc>
              <a:spcBef>
                <a:spcPts val="300"/>
              </a:spcBef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13.02.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5105943" cy="153888"/>
          </a:xfrm>
        </p:spPr>
        <p:txBody>
          <a:bodyPr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C31F6BF0-11B6-44E7-8396-A4C4CF06E29F}" type="slidenum">
              <a:rPr lang="de-DE" smtClean="0"/>
              <a:t>‹Nr.›</a:t>
            </a:fld>
            <a:endParaRPr lang="de-DE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B5DF24FB-C636-4112-BE43-F0300251DED4}"/>
              </a:ext>
            </a:extLst>
          </p:cNvPr>
          <p:cNvCxnSpPr/>
          <p:nvPr/>
        </p:nvCxnSpPr>
        <p:spPr>
          <a:xfrm>
            <a:off x="5707538" y="4761405"/>
            <a:ext cx="776924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btfpLayoutConfig" hidden="1">
            <a:extLst>
              <a:ext uri="{FF2B5EF4-FFF2-40B4-BE49-F238E27FC236}">
                <a16:creationId xmlns:a16="http://schemas.microsoft.com/office/drawing/2014/main" id="{CD1EB402-2B1A-4523-B07A-912EDFD3332D}"/>
              </a:ext>
            </a:extLst>
          </p:cNvPr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de-DE" sz="100">
                <a:solidFill>
                  <a:srgbClr val="FFFFFF">
                    <a:alpha val="0"/>
                  </a:srgbClr>
                </a:solidFill>
              </a:rPr>
              <a:t>overall_0_132059443511967908 columns_1_132059443511967908 </a:t>
            </a:r>
            <a:endParaRPr lang="de-DE" sz="100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21"/>
          </p:nvPr>
        </p:nvSpPr>
        <p:spPr>
          <a:xfrm>
            <a:off x="4367597" y="2080443"/>
            <a:ext cx="3456806" cy="615553"/>
          </a:xfrm>
        </p:spPr>
        <p:txBody>
          <a:bodyPr vert="horz" wrap="square" lIns="0" tIns="0" rIns="0" bIns="0" rtlCol="0" anchor="ctr">
            <a:spAutoFit/>
          </a:bodyPr>
          <a:lstStyle>
            <a:lvl1pPr marL="0" indent="0" algn="ctr">
              <a:buNone/>
              <a:defRPr lang="de-DE" sz="2000" b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de-DE" sz="1800" smtClean="0"/>
            </a:lvl2pPr>
            <a:lvl3pPr>
              <a:defRPr lang="de-DE" sz="1800" smtClean="0"/>
            </a:lvl3pPr>
            <a:lvl4pPr>
              <a:defRPr lang="de-DE" sz="1800" smtClean="0"/>
            </a:lvl4pPr>
            <a:lvl5pPr>
              <a:defRPr lang="de-DE" sz="1800"/>
            </a:lvl5pPr>
          </a:lstStyle>
          <a:p>
            <a:pPr marL="163512" lvl="0" indent="-342900" algn="ctr">
              <a:spcBef>
                <a:spcPct val="0"/>
              </a:spcBef>
            </a:pPr>
            <a:r>
              <a:rPr lang="de-DE"/>
              <a:t>Formatvorlagen des Textmasters bearbeiten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A0A29180-627F-4549-B520-E6568305CD9C}"/>
              </a:ext>
            </a:extLst>
          </p:cNvPr>
          <p:cNvSpPr/>
          <p:nvPr/>
        </p:nvSpPr>
        <p:spPr>
          <a:xfrm>
            <a:off x="12432704" y="18728"/>
            <a:ext cx="1620000" cy="341632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algn="l"/>
            <a:r>
              <a:rPr lang="de-DE" sz="1200" b="1" dirty="0"/>
              <a:t>Hintergrundbild</a:t>
            </a:r>
            <a:r>
              <a:rPr lang="de-DE" sz="1200" b="1" baseline="0" dirty="0"/>
              <a:t> einfügen</a:t>
            </a:r>
          </a:p>
          <a:p>
            <a:pPr algn="l"/>
            <a:endParaRPr lang="de-DE" sz="1200" b="1" baseline="0" dirty="0"/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dirty="0"/>
              <a:t>1. Auf Bild </a:t>
            </a:r>
            <a:r>
              <a:rPr lang="de-DE" sz="1200" b="1" i="1" dirty="0"/>
              <a:t>Rechtsklick </a:t>
            </a:r>
            <a:r>
              <a:rPr lang="de-DE" sz="1200" b="1" i="1" dirty="0">
                <a:sym typeface="Wingdings" panose="05000000000000000000" pitchFamily="2" charset="2"/>
              </a:rPr>
              <a:t></a:t>
            </a:r>
            <a:br>
              <a:rPr lang="de-DE" sz="1200" b="1" i="1" dirty="0">
                <a:sym typeface="Wingdings" panose="05000000000000000000" pitchFamily="2" charset="2"/>
              </a:rPr>
            </a:br>
            <a:r>
              <a:rPr lang="de-DE" sz="1200" b="1" i="0" dirty="0">
                <a:solidFill>
                  <a:srgbClr val="FF0000"/>
                </a:solidFill>
                <a:highlight>
                  <a:srgbClr val="F9F9F9"/>
                </a:highlight>
                <a:sym typeface="Wingdings" panose="05000000000000000000" pitchFamily="2" charset="2"/>
              </a:rPr>
              <a:t>In den Vordergrund </a:t>
            </a:r>
          </a:p>
          <a:p>
            <a:pPr algn="l"/>
            <a:endParaRPr lang="de-DE" sz="1200" b="1" dirty="0"/>
          </a:p>
          <a:p>
            <a:pPr algn="l"/>
            <a:r>
              <a:rPr lang="de-DE" sz="1200" b="1" dirty="0"/>
              <a:t>2.</a:t>
            </a:r>
            <a:r>
              <a:rPr lang="de-DE" sz="1200" b="0" baseline="0" dirty="0"/>
              <a:t> Gewünschtes Bild einfügen. </a:t>
            </a:r>
            <a:r>
              <a:rPr lang="de-DE" sz="1200" dirty="0"/>
              <a:t>Klicken sie dazu auf das Bild-Icon in der Mitte des Platzhalters.</a:t>
            </a:r>
          </a:p>
          <a:p>
            <a:pPr algn="l"/>
            <a:endParaRPr lang="de-DE" sz="1200" dirty="0"/>
          </a:p>
          <a:p>
            <a:pPr algn="l"/>
            <a:r>
              <a:rPr lang="de-DE" sz="1200" b="1" dirty="0"/>
              <a:t>3. </a:t>
            </a:r>
            <a:r>
              <a:rPr lang="de-DE" sz="1200" dirty="0"/>
              <a:t>Haben Sie das gewünschte Bild eingefügt</a:t>
            </a:r>
            <a:br>
              <a:rPr lang="de-DE" sz="1200" dirty="0"/>
            </a:br>
            <a:r>
              <a:rPr lang="de-DE" sz="1200" b="1" i="1" dirty="0"/>
              <a:t>Rechtsklick </a:t>
            </a:r>
            <a:r>
              <a:rPr lang="de-DE" sz="1200" b="1" i="1" dirty="0">
                <a:sym typeface="Wingdings" panose="05000000000000000000" pitchFamily="2" charset="2"/>
              </a:rPr>
              <a:t></a:t>
            </a:r>
            <a:br>
              <a:rPr lang="de-DE" sz="1200" b="1" i="1" dirty="0">
                <a:sym typeface="Wingdings" panose="05000000000000000000" pitchFamily="2" charset="2"/>
              </a:rPr>
            </a:br>
            <a:r>
              <a:rPr lang="de-DE" sz="1200" b="1" i="0" dirty="0">
                <a:solidFill>
                  <a:srgbClr val="FF0000"/>
                </a:solidFill>
                <a:highlight>
                  <a:srgbClr val="F9F9F9"/>
                </a:highlight>
                <a:sym typeface="Wingdings" panose="05000000000000000000" pitchFamily="2" charset="2"/>
              </a:rPr>
              <a:t>In den Hintergrund </a:t>
            </a:r>
          </a:p>
        </p:txBody>
      </p:sp>
      <p:sp>
        <p:nvSpPr>
          <p:cNvPr id="15" name="Inhaltsplatzhalter 7"/>
          <p:cNvSpPr>
            <a:spLocks noGrp="1"/>
          </p:cNvSpPr>
          <p:nvPr>
            <p:ph idx="1" hasCustomPrompt="1"/>
          </p:nvPr>
        </p:nvSpPr>
        <p:spPr>
          <a:xfrm>
            <a:off x="731837" y="5085184"/>
            <a:ext cx="10728325" cy="889553"/>
          </a:xfrm>
        </p:spPr>
        <p:txBody>
          <a:bodyPr/>
          <a:lstStyle>
            <a:lvl1pPr marL="0" indent="0" algn="ctr">
              <a:buNone/>
              <a:defRPr sz="1400"/>
            </a:lvl1pPr>
            <a:lvl2pPr>
              <a:defRPr/>
            </a:lvl2pPr>
          </a:lstStyle>
          <a:p>
            <a:r>
              <a:rPr lang="en-GB" dirty="0" err="1"/>
              <a:t>Ich</a:t>
            </a:r>
            <a:r>
              <a:rPr lang="en-GB" dirty="0"/>
              <a:t> bin </a:t>
            </a:r>
            <a:r>
              <a:rPr lang="en-GB" dirty="0" err="1"/>
              <a:t>ein</a:t>
            </a:r>
            <a:r>
              <a:rPr lang="en-GB" dirty="0"/>
              <a:t> </a:t>
            </a:r>
            <a:r>
              <a:rPr lang="en-GB" dirty="0" err="1"/>
              <a:t>Beispieltext</a:t>
            </a:r>
            <a:endParaRPr lang="en-GB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44753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64">
          <p15:clr>
            <a:srgbClr val="CCCCCC"/>
          </p15:clr>
        </p15:guide>
        <p15:guide id="2" pos="7216">
          <p15:clr>
            <a:srgbClr val="CCCCCC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_Karte_1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DCF6EDC-F177-4B01-8E9B-EAB815736A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5952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DCF6EDC-F177-4B01-8E9B-EAB815736A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4" name="Grafik 163">
            <a:extLst>
              <a:ext uri="{FF2B5EF4-FFF2-40B4-BE49-F238E27FC236}">
                <a16:creationId xmlns:a16="http://schemas.microsoft.com/office/drawing/2014/main" id="{B61C4624-99BD-4827-A3AE-D3652286580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16092"/>
          <a:stretch/>
        </p:blipFill>
        <p:spPr>
          <a:xfrm>
            <a:off x="5565525" y="0"/>
            <a:ext cx="6626475" cy="5779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31838" y="2798506"/>
            <a:ext cx="4578486" cy="738664"/>
          </a:xfrm>
        </p:spPr>
        <p:txBody>
          <a:bodyPr wrap="square" lIns="0" tIns="0" rIns="0" bIns="0" anchor="ctr">
            <a:spAutoFit/>
          </a:bodyPr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/>
              <a:t>Titelfolie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31838" y="3709040"/>
            <a:ext cx="4578486" cy="276999"/>
          </a:xfr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Untertitel</a:t>
            </a:r>
            <a:endParaRPr lang="de-DE" dirty="0"/>
          </a:p>
        </p:txBody>
      </p:sp>
      <p:grpSp>
        <p:nvGrpSpPr>
          <p:cNvPr id="11" name="Group 13">
            <a:extLst>
              <a:ext uri="{FF2B5EF4-FFF2-40B4-BE49-F238E27FC236}">
                <a16:creationId xmlns:a16="http://schemas.microsoft.com/office/drawing/2014/main" id="{1640DA54-2D07-45E9-B888-3B5855200387}"/>
              </a:ext>
            </a:extLst>
          </p:cNvPr>
          <p:cNvGrpSpPr>
            <a:grpSpLocks/>
          </p:cNvGrpSpPr>
          <p:nvPr/>
        </p:nvGrpSpPr>
        <p:grpSpPr>
          <a:xfrm>
            <a:off x="731838" y="2110902"/>
            <a:ext cx="4578486" cy="2636198"/>
            <a:chOff x="1558925" y="4192858"/>
            <a:chExt cx="9235455" cy="5374888"/>
          </a:xfrm>
        </p:grpSpPr>
        <p:cxnSp>
          <p:nvCxnSpPr>
            <p:cNvPr id="12" name="Straight Connector 15">
              <a:extLst>
                <a:ext uri="{FF2B5EF4-FFF2-40B4-BE49-F238E27FC236}">
                  <a16:creationId xmlns:a16="http://schemas.microsoft.com/office/drawing/2014/main" id="{74011556-4059-4380-B7A9-162E6E6C3CC4}"/>
                </a:ext>
              </a:extLst>
            </p:cNvPr>
            <p:cNvCxnSpPr/>
            <p:nvPr/>
          </p:nvCxnSpPr>
          <p:spPr>
            <a:xfrm>
              <a:off x="1558925" y="9567746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6">
              <a:extLst>
                <a:ext uri="{FF2B5EF4-FFF2-40B4-BE49-F238E27FC236}">
                  <a16:creationId xmlns:a16="http://schemas.microsoft.com/office/drawing/2014/main" id="{F1374D04-108E-42AF-8188-EFBD3D85137F}"/>
                </a:ext>
              </a:extLst>
            </p:cNvPr>
            <p:cNvCxnSpPr/>
            <p:nvPr/>
          </p:nvCxnSpPr>
          <p:spPr>
            <a:xfrm>
              <a:off x="1558925" y="4192858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Picture 507" descr="\\LEG001\dat_a_uk\LEG-Darstellung\Logo\_LEG-Logo\_LEG Logo\_LEG_Englisch\LEG_Logo_4c_englisch.gif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5028" y="0"/>
            <a:ext cx="2072972" cy="1041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801242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64">
          <p15:clr>
            <a:srgbClr val="CCCCCC"/>
          </p15:clr>
        </p15:guide>
        <p15:guide id="2" pos="7216">
          <p15:clr>
            <a:srgbClr val="CCCCCC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ontakt_ 1 Per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2420295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E1F0C5B-74B5-43D2-AA28-C4E0E46C13F1}"/>
              </a:ext>
            </a:extLst>
          </p:cNvPr>
          <p:cNvSpPr>
            <a:spLocks/>
          </p:cNvSpPr>
          <p:nvPr/>
        </p:nvSpPr>
        <p:spPr>
          <a:xfrm>
            <a:off x="5710137" y="1773237"/>
            <a:ext cx="6481864" cy="360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838" y="552420"/>
            <a:ext cx="10728325" cy="523220"/>
          </a:xfrm>
        </p:spPr>
        <p:txBody>
          <a:bodyPr lIns="0" tIns="0" rIns="0" bIns="0" anchor="b">
            <a:spAutoFit/>
          </a:bodyPr>
          <a:lstStyle>
            <a:lvl1pPr algn="ctr">
              <a:lnSpc>
                <a:spcPct val="100000"/>
              </a:lnSpc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0" y="3356992"/>
            <a:ext cx="5364163" cy="1673159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13.02.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9782719" cy="153888"/>
          </a:xfrm>
        </p:spPr>
        <p:txBody>
          <a:bodyPr lIns="0" tIns="0" rIns="0" bIns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C31F6BF0-11B6-44E7-8396-A4C4CF06E29F}" type="slidenum">
              <a:rPr lang="de-DE" smtClean="0"/>
              <a:t>‹Nr.›</a:t>
            </a:fld>
            <a:endParaRPr lang="de-DE"/>
          </a:p>
        </p:txBody>
      </p:sp>
      <p:sp>
        <p:nvSpPr>
          <p:cNvPr id="13" name="Bildplatzhalter 9">
            <a:extLst>
              <a:ext uri="{FF2B5EF4-FFF2-40B4-BE49-F238E27FC236}">
                <a16:creationId xmlns:a16="http://schemas.microsoft.com/office/drawing/2014/main" id="{33739170-57E2-4D7C-A737-907FC7D43F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944164" y="1773237"/>
            <a:ext cx="3600000" cy="36000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2AE245BC-FC39-4398-B403-B1C260965CB3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096000" y="2645440"/>
            <a:ext cx="5364163" cy="246221"/>
          </a:xfr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179387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358775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538162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71755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2B872C45-5698-453F-9BF7-321B6EDEEE56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096000" y="2147277"/>
            <a:ext cx="5364163" cy="430887"/>
          </a:xfr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2800">
                <a:solidFill>
                  <a:schemeClr val="bg1"/>
                </a:solidFill>
              </a:defRPr>
            </a:lvl1pPr>
            <a:lvl2pPr marL="179387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358775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538162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71755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Vorname Name</a:t>
            </a:r>
          </a:p>
        </p:txBody>
      </p:sp>
      <p:sp>
        <p:nvSpPr>
          <p:cNvPr id="7" name="btfpLayoutConfig" hidden="1">
            <a:extLst>
              <a:ext uri="{FF2B5EF4-FFF2-40B4-BE49-F238E27FC236}">
                <a16:creationId xmlns:a16="http://schemas.microsoft.com/office/drawing/2014/main" id="{BC307CA8-DCC7-4CD6-9262-EA86BCBB52BB}"/>
              </a:ext>
            </a:extLst>
          </p:cNvPr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de-DE" sz="100">
                <a:solidFill>
                  <a:srgbClr val="FFFFFF">
                    <a:alpha val="0"/>
                  </a:srgbClr>
                </a:solidFill>
              </a:rPr>
              <a:t>overall_0_132059438575419169 columns_1_132059438575419169 </a:t>
            </a:r>
            <a:endParaRPr lang="de-DE" sz="100" dirty="0">
              <a:solidFill>
                <a:srgbClr val="FFFFFF">
                  <a:alpha val="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54364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61">
          <p15:clr>
            <a:srgbClr val="FBAE40"/>
          </p15:clr>
        </p15:guide>
        <p15:guide id="2" pos="7219">
          <p15:clr>
            <a:srgbClr val="FBAE40"/>
          </p15:clr>
        </p15:guide>
        <p15:guide id="3" orient="horz" pos="1117">
          <p15:clr>
            <a:srgbClr val="FBAE40"/>
          </p15:clr>
        </p15:guide>
        <p15:guide id="4" orient="horz" pos="3861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ontakt_ 3 Person_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0104647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13.02.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9782719" cy="153888"/>
          </a:xfrm>
        </p:spPr>
        <p:txBody>
          <a:bodyPr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C31F6BF0-11B6-44E7-8396-A4C4CF06E29F}" type="slidenum">
              <a:rPr lang="de-DE" smtClean="0"/>
              <a:t>‹Nr.›</a:t>
            </a:fld>
            <a:endParaRPr lang="de-DE"/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B43628-C72B-4E89-965D-086F8357BF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591112" y="1773238"/>
            <a:ext cx="2808490" cy="280849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2" name="Bildplatzhalter 9">
            <a:extLst>
              <a:ext uri="{FF2B5EF4-FFF2-40B4-BE49-F238E27FC236}">
                <a16:creationId xmlns:a16="http://schemas.microsoft.com/office/drawing/2014/main" id="{A662C4E2-1E6D-4BE9-A0A4-ED48EB2245E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76893" y="1773238"/>
            <a:ext cx="2808490" cy="280849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3" name="Bildplatzhalter 9">
            <a:extLst>
              <a:ext uri="{FF2B5EF4-FFF2-40B4-BE49-F238E27FC236}">
                <a16:creationId xmlns:a16="http://schemas.microsoft.com/office/drawing/2014/main" id="{2EEA3BC9-FFCA-4710-869B-95BB187FE88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762674" y="1773238"/>
            <a:ext cx="2808490" cy="280849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DD5E3E0A-F708-49AD-B11F-F78E45105B39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1591112" y="4906091"/>
            <a:ext cx="2808490" cy="276999"/>
          </a:xfrm>
        </p:spPr>
        <p:txBody>
          <a:bodyPr>
            <a:spAutoFit/>
          </a:bodyPr>
          <a:lstStyle>
            <a:lvl1pPr marL="0" indent="0" algn="ctr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None/>
              <a:defRPr sz="1800">
                <a:solidFill>
                  <a:schemeClr val="tx2"/>
                </a:solidFill>
              </a:defRPr>
            </a:lvl1pPr>
            <a:lvl2pPr marL="179387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2pPr>
            <a:lvl3pPr marL="358775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3pPr>
            <a:lvl4pPr marL="538162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4pPr>
            <a:lvl5pPr marL="717550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de-DE" dirty="0"/>
              <a:t>Name Vorname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8AA4845-411B-4D84-9684-13AEE0F82440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676893" y="4906091"/>
            <a:ext cx="2808490" cy="276999"/>
          </a:xfrm>
        </p:spPr>
        <p:txBody>
          <a:bodyPr>
            <a:spAutoFit/>
          </a:bodyPr>
          <a:lstStyle>
            <a:lvl1pPr marL="0" indent="0" algn="ctr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None/>
              <a:defRPr sz="1800">
                <a:solidFill>
                  <a:schemeClr val="tx2"/>
                </a:solidFill>
              </a:defRPr>
            </a:lvl1pPr>
            <a:lvl2pPr marL="179387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2pPr>
            <a:lvl3pPr marL="358775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3pPr>
            <a:lvl4pPr marL="538162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4pPr>
            <a:lvl5pPr marL="717550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de-DE" dirty="0"/>
              <a:t>Name Vornam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2B20E9C1-ECED-4851-AEFD-82700EC9521C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62674" y="4906091"/>
            <a:ext cx="2808490" cy="276999"/>
          </a:xfrm>
        </p:spPr>
        <p:txBody>
          <a:bodyPr>
            <a:spAutoFit/>
          </a:bodyPr>
          <a:lstStyle>
            <a:lvl1pPr marL="0" indent="0" algn="ctr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None/>
              <a:defRPr sz="1800">
                <a:solidFill>
                  <a:schemeClr val="tx2"/>
                </a:solidFill>
              </a:defRPr>
            </a:lvl1pPr>
            <a:lvl2pPr marL="179387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2pPr>
            <a:lvl3pPr marL="358775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3pPr>
            <a:lvl4pPr marL="538162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4pPr>
            <a:lvl5pPr marL="717550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de-DE" dirty="0"/>
              <a:t>Name Vorname</a:t>
            </a: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BFBDAF25-60CF-4144-A31E-8045D62C5889}"/>
              </a:ext>
            </a:extLst>
          </p:cNvPr>
          <p:cNvCxnSpPr/>
          <p:nvPr/>
        </p:nvCxnSpPr>
        <p:spPr>
          <a:xfrm>
            <a:off x="2606895" y="5285470"/>
            <a:ext cx="776924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620891A4-FAAB-4A12-8E33-4218491AD61D}"/>
              </a:ext>
            </a:extLst>
          </p:cNvPr>
          <p:cNvCxnSpPr/>
          <p:nvPr/>
        </p:nvCxnSpPr>
        <p:spPr>
          <a:xfrm>
            <a:off x="5692676" y="5285470"/>
            <a:ext cx="776924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7BE24F11-9E46-4CA2-BC1A-6DF4DADC55EF}"/>
              </a:ext>
            </a:extLst>
          </p:cNvPr>
          <p:cNvCxnSpPr/>
          <p:nvPr/>
        </p:nvCxnSpPr>
        <p:spPr>
          <a:xfrm>
            <a:off x="8778457" y="5285470"/>
            <a:ext cx="776924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097A7AA4-8DA2-4982-BC1F-99E109C6AFE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1591112" y="5415551"/>
            <a:ext cx="2808490" cy="215444"/>
          </a:xfrm>
        </p:spPr>
        <p:txBody>
          <a:bodyPr>
            <a:spAutoFit/>
          </a:bodyPr>
          <a:lstStyle>
            <a:lvl1pPr marL="0" indent="0" algn="ctr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  <a:lvl2pPr marL="179387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2pPr>
            <a:lvl3pPr marL="358775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3pPr>
            <a:lvl4pPr marL="538162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4pPr>
            <a:lvl5pPr marL="717550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545649E4-750B-43F8-BDC9-93376DA95B18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4676893" y="5415551"/>
            <a:ext cx="2808490" cy="215444"/>
          </a:xfrm>
        </p:spPr>
        <p:txBody>
          <a:bodyPr>
            <a:spAutoFit/>
          </a:bodyPr>
          <a:lstStyle>
            <a:lvl1pPr marL="0" indent="0" algn="ctr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  <a:lvl2pPr marL="179387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2pPr>
            <a:lvl3pPr marL="358775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3pPr>
            <a:lvl4pPr marL="538162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4pPr>
            <a:lvl5pPr marL="717550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32D02D5-6311-4BDF-BDF2-CBE002F711B7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7762674" y="5415551"/>
            <a:ext cx="2808490" cy="215444"/>
          </a:xfrm>
        </p:spPr>
        <p:txBody>
          <a:bodyPr>
            <a:spAutoFit/>
          </a:bodyPr>
          <a:lstStyle>
            <a:lvl1pPr marL="0" indent="0" algn="ctr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  <a:lvl2pPr marL="179387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2pPr>
            <a:lvl3pPr marL="358775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3pPr>
            <a:lvl4pPr marL="538162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4pPr>
            <a:lvl5pPr marL="717550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3" name="btfpLayoutConfig" hidden="1">
            <a:extLst>
              <a:ext uri="{FF2B5EF4-FFF2-40B4-BE49-F238E27FC236}">
                <a16:creationId xmlns:a16="http://schemas.microsoft.com/office/drawing/2014/main" id="{49CC0780-4436-4E6B-B509-852034B5CE88}"/>
              </a:ext>
            </a:extLst>
          </p:cNvPr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de-DE" sz="100">
                <a:solidFill>
                  <a:srgbClr val="FFFFFF">
                    <a:alpha val="0"/>
                  </a:srgbClr>
                </a:solidFill>
              </a:rPr>
              <a:t>overall_0_132059440482315557 columns_1_132059440482315557 </a:t>
            </a:r>
            <a:endParaRPr lang="de-DE" sz="100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24" name="Rectangle 36">
            <a:extLst>
              <a:ext uri="{FF2B5EF4-FFF2-40B4-BE49-F238E27FC236}">
                <a16:creationId xmlns:a16="http://schemas.microsoft.com/office/drawing/2014/main" id="{4095DAD6-F652-4376-AAE9-34CAFC918F39}"/>
              </a:ext>
            </a:extLst>
          </p:cNvPr>
          <p:cNvSpPr/>
          <p:nvPr/>
        </p:nvSpPr>
        <p:spPr>
          <a:xfrm>
            <a:off x="1591112" y="4581728"/>
            <a:ext cx="2808490" cy="3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5" name="Rectangle 41">
            <a:extLst>
              <a:ext uri="{FF2B5EF4-FFF2-40B4-BE49-F238E27FC236}">
                <a16:creationId xmlns:a16="http://schemas.microsoft.com/office/drawing/2014/main" id="{DE594DA4-C5E5-4CD9-B24B-1E2263BD1BC5}"/>
              </a:ext>
            </a:extLst>
          </p:cNvPr>
          <p:cNvSpPr/>
          <p:nvPr/>
        </p:nvSpPr>
        <p:spPr>
          <a:xfrm>
            <a:off x="4676893" y="4581728"/>
            <a:ext cx="2808490" cy="36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6" name="Rectangle 48">
            <a:extLst>
              <a:ext uri="{FF2B5EF4-FFF2-40B4-BE49-F238E27FC236}">
                <a16:creationId xmlns:a16="http://schemas.microsoft.com/office/drawing/2014/main" id="{4EB2415C-F3C5-4565-8FD4-03ADE7F25479}"/>
              </a:ext>
            </a:extLst>
          </p:cNvPr>
          <p:cNvSpPr/>
          <p:nvPr/>
        </p:nvSpPr>
        <p:spPr>
          <a:xfrm>
            <a:off x="7762674" y="4581728"/>
            <a:ext cx="2808490" cy="3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7" name="Title 1"/>
          <p:cNvSpPr>
            <a:spLocks noGrp="1"/>
          </p:cNvSpPr>
          <p:nvPr>
            <p:ph type="title"/>
          </p:nvPr>
        </p:nvSpPr>
        <p:spPr>
          <a:xfrm>
            <a:off x="731838" y="552420"/>
            <a:ext cx="10728325" cy="523220"/>
          </a:xfrm>
        </p:spPr>
        <p:txBody>
          <a:bodyPr lIns="0" tIns="0" rIns="0" bIns="0" anchor="b">
            <a:spAutoFit/>
          </a:bodyPr>
          <a:lstStyle>
            <a:lvl1pPr algn="ctr">
              <a:lnSpc>
                <a:spcPct val="100000"/>
              </a:lnSpc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896388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1117">
          <p15:clr>
            <a:srgbClr val="FBAE40"/>
          </p15:clr>
        </p15:guide>
        <p15:guide id="4" orient="horz" pos="3861">
          <p15:clr>
            <a:srgbClr val="FBAE40"/>
          </p15:clr>
        </p15:guide>
        <p15:guide id="5" pos="461">
          <p15:clr>
            <a:srgbClr val="FBAE40"/>
          </p15:clr>
        </p15:guide>
        <p15:guide id="6" pos="7219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DCF6EDC-F177-4B01-8E9B-EAB815736A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7446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DCF6EDC-F177-4B01-8E9B-EAB815736A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9" name="Rectangle 9">
            <a:extLst>
              <a:ext uri="{FF2B5EF4-FFF2-40B4-BE49-F238E27FC236}">
                <a16:creationId xmlns:a16="http://schemas.microsoft.com/office/drawing/2014/main" id="{B9191ACD-39F2-4858-AF32-A85AA2B89004}"/>
              </a:ext>
            </a:extLst>
          </p:cNvPr>
          <p:cNvSpPr>
            <a:spLocks/>
          </p:cNvSpPr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0">
            <a:gsLst>
              <a:gs pos="0">
                <a:schemeClr val="accent6"/>
              </a:gs>
              <a:gs pos="100000">
                <a:schemeClr val="accent6">
                  <a:alpha val="70000"/>
                  <a:lumMod val="54000"/>
                </a:schemeClr>
              </a:gs>
            </a:gsLst>
            <a:lin ang="6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pSp>
        <p:nvGrpSpPr>
          <p:cNvPr id="11" name="Group 13">
            <a:extLst>
              <a:ext uri="{FF2B5EF4-FFF2-40B4-BE49-F238E27FC236}">
                <a16:creationId xmlns:a16="http://schemas.microsoft.com/office/drawing/2014/main" id="{7982485C-08D2-4D4C-A6EE-DA380C242422}"/>
              </a:ext>
            </a:extLst>
          </p:cNvPr>
          <p:cNvGrpSpPr>
            <a:grpSpLocks/>
          </p:cNvGrpSpPr>
          <p:nvPr/>
        </p:nvGrpSpPr>
        <p:grpSpPr>
          <a:xfrm>
            <a:off x="3806758" y="2110902"/>
            <a:ext cx="4578486" cy="2636198"/>
            <a:chOff x="1558925" y="4192858"/>
            <a:chExt cx="9235455" cy="5374888"/>
          </a:xfrm>
        </p:grpSpPr>
        <p:cxnSp>
          <p:nvCxnSpPr>
            <p:cNvPr id="12" name="Straight Connector 15">
              <a:extLst>
                <a:ext uri="{FF2B5EF4-FFF2-40B4-BE49-F238E27FC236}">
                  <a16:creationId xmlns:a16="http://schemas.microsoft.com/office/drawing/2014/main" id="{1077DEA6-70F3-4526-A874-46FA3436FB95}"/>
                </a:ext>
              </a:extLst>
            </p:cNvPr>
            <p:cNvCxnSpPr/>
            <p:nvPr/>
          </p:nvCxnSpPr>
          <p:spPr>
            <a:xfrm>
              <a:off x="1558925" y="9567746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6">
              <a:extLst>
                <a:ext uri="{FF2B5EF4-FFF2-40B4-BE49-F238E27FC236}">
                  <a16:creationId xmlns:a16="http://schemas.microsoft.com/office/drawing/2014/main" id="{E7876C5B-5252-4095-864C-8F17851FED23}"/>
                </a:ext>
              </a:extLst>
            </p:cNvPr>
            <p:cNvCxnSpPr/>
            <p:nvPr/>
          </p:nvCxnSpPr>
          <p:spPr>
            <a:xfrm>
              <a:off x="1558925" y="4192858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31839" y="2700560"/>
            <a:ext cx="10728324" cy="1495794"/>
          </a:xfrm>
        </p:spPr>
        <p:txBody>
          <a:bodyPr wrap="square" lIns="0" tIns="0" rIns="0" bIns="0" anchor="ctr">
            <a:noAutofit/>
          </a:bodyPr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/>
              <a:t>Abschlussfolie</a:t>
            </a:r>
            <a:endParaRPr lang="de-DE" dirty="0"/>
          </a:p>
        </p:txBody>
      </p:sp>
      <p:pic>
        <p:nvPicPr>
          <p:cNvPr id="14" name="Picture 2" descr="T:\LEG-Darstellung\Power_Point_Praesentation\_MASTER\Logos\LEG_Logo_4c_de.gif">
            <a:extLst>
              <a:ext uri="{FF2B5EF4-FFF2-40B4-BE49-F238E27FC236}">
                <a16:creationId xmlns:a16="http://schemas.microsoft.com/office/drawing/2014/main" id="{ECE5DBBC-33C7-4E27-9F80-4715D4C36FAA}"/>
              </a:ext>
            </a:extLst>
          </p:cNvPr>
          <p:cNvPicPr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5028" y="0"/>
            <a:ext cx="2072972" cy="1041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btfpLayoutConfig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de-DE" sz="100" dirty="0">
                <a:solidFill>
                  <a:srgbClr val="FFFFFF">
                    <a:alpha val="0"/>
                  </a:srgbClr>
                </a:solidFill>
              </a:rPr>
              <a:t>overall_0_132077611449449403 columns_1_132077611449449403 </a:t>
            </a:r>
          </a:p>
        </p:txBody>
      </p:sp>
    </p:spTree>
    <p:extLst>
      <p:ext uri="{BB962C8B-B14F-4D97-AF65-F5344CB8AC3E}">
        <p14:creationId xmlns:p14="http://schemas.microsoft.com/office/powerpoint/2010/main" val="312006141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er_ohne Strich_Ausnah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9938667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13.02.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9782719" cy="153888"/>
          </a:xfrm>
        </p:spPr>
        <p:txBody>
          <a:bodyPr lIns="0" tIns="0" rIns="0" bIns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C31F6BF0-11B6-44E7-8396-A4C4CF06E29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424562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64">
          <p15:clr>
            <a:srgbClr val="CCCCCC"/>
          </p15:clr>
        </p15:guide>
        <p15:guide id="2" pos="7216">
          <p15:clr>
            <a:srgbClr val="CCCCCC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_Karte_2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DCF6EDC-F177-4B01-8E9B-EAB815736A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14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DCF6EDC-F177-4B01-8E9B-EAB815736A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4" name="Grafik 163">
            <a:extLst>
              <a:ext uri="{FF2B5EF4-FFF2-40B4-BE49-F238E27FC236}">
                <a16:creationId xmlns:a16="http://schemas.microsoft.com/office/drawing/2014/main" id="{B61C4624-99BD-4827-A3AE-D3652286580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16092"/>
          <a:stretch/>
        </p:blipFill>
        <p:spPr>
          <a:xfrm>
            <a:off x="5565525" y="0"/>
            <a:ext cx="6626475" cy="5779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31838" y="2700065"/>
            <a:ext cx="4578486" cy="1477328"/>
          </a:xfrm>
        </p:spPr>
        <p:txBody>
          <a:bodyPr wrap="square" lIns="0" tIns="0" rIns="0" bIns="0" anchor="ctr">
            <a:spAutoFit/>
          </a:bodyPr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folie</a:t>
            </a:r>
            <a:br>
              <a:rPr lang="de-DE"/>
            </a:br>
            <a:r>
              <a:rPr lang="de-DE"/>
              <a:t>zweizeilig</a:t>
            </a:r>
            <a:endParaRPr lang="de-DE" dirty="0"/>
          </a:p>
        </p:txBody>
      </p:sp>
      <p:grpSp>
        <p:nvGrpSpPr>
          <p:cNvPr id="11" name="Group 13">
            <a:extLst>
              <a:ext uri="{FF2B5EF4-FFF2-40B4-BE49-F238E27FC236}">
                <a16:creationId xmlns:a16="http://schemas.microsoft.com/office/drawing/2014/main" id="{1640DA54-2D07-45E9-B888-3B5855200387}"/>
              </a:ext>
            </a:extLst>
          </p:cNvPr>
          <p:cNvGrpSpPr>
            <a:grpSpLocks/>
          </p:cNvGrpSpPr>
          <p:nvPr/>
        </p:nvGrpSpPr>
        <p:grpSpPr>
          <a:xfrm>
            <a:off x="731838" y="2110902"/>
            <a:ext cx="4578486" cy="2636198"/>
            <a:chOff x="1558925" y="4192858"/>
            <a:chExt cx="9235455" cy="5374888"/>
          </a:xfrm>
        </p:grpSpPr>
        <p:cxnSp>
          <p:nvCxnSpPr>
            <p:cNvPr id="12" name="Straight Connector 15">
              <a:extLst>
                <a:ext uri="{FF2B5EF4-FFF2-40B4-BE49-F238E27FC236}">
                  <a16:creationId xmlns:a16="http://schemas.microsoft.com/office/drawing/2014/main" id="{74011556-4059-4380-B7A9-162E6E6C3CC4}"/>
                </a:ext>
              </a:extLst>
            </p:cNvPr>
            <p:cNvCxnSpPr/>
            <p:nvPr/>
          </p:nvCxnSpPr>
          <p:spPr>
            <a:xfrm>
              <a:off x="1558925" y="9567746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6">
              <a:extLst>
                <a:ext uri="{FF2B5EF4-FFF2-40B4-BE49-F238E27FC236}">
                  <a16:creationId xmlns:a16="http://schemas.microsoft.com/office/drawing/2014/main" id="{F1374D04-108E-42AF-8188-EFBD3D85137F}"/>
                </a:ext>
              </a:extLst>
            </p:cNvPr>
            <p:cNvCxnSpPr/>
            <p:nvPr/>
          </p:nvCxnSpPr>
          <p:spPr>
            <a:xfrm>
              <a:off x="1558925" y="4192858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Picture 507" descr="\\LEG001\dat_a_uk\LEG-Darstellung\Logo\_LEG-Logo\_LEG Logo\_LEG_Englisch\LEG_Logo_4c_englisch.gif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5028" y="0"/>
            <a:ext cx="2072972" cy="1041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92901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trenner  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6655ED5-16BC-4F25-8174-C699708F651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DAA6D94B-0521-42F2-9F06-9BB3145FCF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792" y="2052537"/>
            <a:ext cx="7930867" cy="3013268"/>
          </a:xfrm>
          <a:gradFill flip="none" rotWithShape="0">
            <a:gsLst>
              <a:gs pos="0">
                <a:schemeClr val="accent6"/>
              </a:gs>
              <a:gs pos="100000">
                <a:schemeClr val="accent6">
                  <a:alpha val="70000"/>
                  <a:lumMod val="54000"/>
                </a:schemeClr>
              </a:gs>
            </a:gsLst>
            <a:lin ang="6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>
            <a:normAutofit/>
          </a:bodyPr>
          <a:lstStyle>
            <a:lvl1pPr marL="0" indent="0" algn="l">
              <a:buNone/>
              <a:defRPr lang="en-GB" sz="1800" dirty="0">
                <a:solidFill>
                  <a:schemeClr val="lt1"/>
                </a:solidFill>
              </a:defRPr>
            </a:lvl1pPr>
          </a:lstStyle>
          <a:p>
            <a:pPr marL="179388" lvl="0" indent="-179388" algn="ctr" defTabSz="457200"/>
            <a:r>
              <a:rPr lang="en-GB" dirty="0"/>
              <a:t> </a:t>
            </a:r>
          </a:p>
        </p:txBody>
      </p:sp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DCF6EDC-F177-4B01-8E9B-EAB815736A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9507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DCF6EDC-F177-4B01-8E9B-EAB815736A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9DCB815F-E587-4332-A934-EA4D2E466FC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11" name="Bildplatzhalter 16"/>
          <p:cNvSpPr>
            <a:spLocks noGrp="1"/>
          </p:cNvSpPr>
          <p:nvPr>
            <p:ph type="pic" sz="quarter" idx="13" hasCustomPrompt="1"/>
          </p:nvPr>
        </p:nvSpPr>
        <p:spPr>
          <a:xfrm>
            <a:off x="3565154" y="4107882"/>
            <a:ext cx="756000" cy="360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31839" y="3060108"/>
            <a:ext cx="6422630" cy="677108"/>
          </a:xfrm>
        </p:spPr>
        <p:txBody>
          <a:bodyPr wrap="square" lIns="0" tIns="0" rIns="0" bIns="0" anchor="ctr">
            <a:sp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hema / Bereich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31839" y="3759743"/>
            <a:ext cx="6422630" cy="246221"/>
          </a:xfr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Untertitel</a:t>
            </a:r>
            <a:endParaRPr lang="de-DE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A0A29180-627F-4549-B520-E6568305CD9C}"/>
              </a:ext>
            </a:extLst>
          </p:cNvPr>
          <p:cNvSpPr/>
          <p:nvPr/>
        </p:nvSpPr>
        <p:spPr>
          <a:xfrm>
            <a:off x="12432704" y="18728"/>
            <a:ext cx="1620000" cy="341632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algn="l"/>
            <a:r>
              <a:rPr lang="de-DE" sz="1200" b="1" dirty="0"/>
              <a:t>Hintergrundbild</a:t>
            </a:r>
            <a:r>
              <a:rPr lang="de-DE" sz="1200" b="1" baseline="0" dirty="0"/>
              <a:t> einfügen</a:t>
            </a:r>
          </a:p>
          <a:p>
            <a:pPr algn="l"/>
            <a:endParaRPr lang="de-DE" sz="1200" b="1" baseline="0" dirty="0"/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dirty="0"/>
              <a:t>1. Auf Bild </a:t>
            </a:r>
            <a:r>
              <a:rPr lang="de-DE" sz="1200" b="1" i="1" dirty="0"/>
              <a:t>Rechtsklick </a:t>
            </a:r>
            <a:r>
              <a:rPr lang="de-DE" sz="1200" b="1" i="1" dirty="0">
                <a:sym typeface="Wingdings" panose="05000000000000000000" pitchFamily="2" charset="2"/>
              </a:rPr>
              <a:t></a:t>
            </a:r>
            <a:br>
              <a:rPr lang="de-DE" sz="1200" b="1" i="1" dirty="0">
                <a:sym typeface="Wingdings" panose="05000000000000000000" pitchFamily="2" charset="2"/>
              </a:rPr>
            </a:br>
            <a:r>
              <a:rPr lang="de-DE" sz="1200" b="1" i="0" dirty="0">
                <a:solidFill>
                  <a:srgbClr val="FF0000"/>
                </a:solidFill>
                <a:highlight>
                  <a:srgbClr val="F9F9F9"/>
                </a:highlight>
                <a:sym typeface="Wingdings" panose="05000000000000000000" pitchFamily="2" charset="2"/>
              </a:rPr>
              <a:t>In den Vordergrund </a:t>
            </a:r>
          </a:p>
          <a:p>
            <a:pPr algn="l"/>
            <a:endParaRPr lang="de-DE" sz="1200" b="1" dirty="0"/>
          </a:p>
          <a:p>
            <a:pPr algn="l"/>
            <a:r>
              <a:rPr lang="de-DE" sz="1200" b="1" dirty="0"/>
              <a:t>2.</a:t>
            </a:r>
            <a:r>
              <a:rPr lang="de-DE" sz="1200" b="0" baseline="0" dirty="0"/>
              <a:t> Gewünschtes Bild einfügen. </a:t>
            </a:r>
            <a:r>
              <a:rPr lang="de-DE" sz="1200" dirty="0"/>
              <a:t>Klicken sie dazu auf das Bild-Icon in der Mitte des Platzhalters.</a:t>
            </a:r>
          </a:p>
          <a:p>
            <a:pPr algn="l"/>
            <a:endParaRPr lang="de-DE" sz="1200" dirty="0"/>
          </a:p>
          <a:p>
            <a:pPr algn="l"/>
            <a:r>
              <a:rPr lang="de-DE" sz="1200" b="1" dirty="0"/>
              <a:t>3. </a:t>
            </a:r>
            <a:r>
              <a:rPr lang="de-DE" sz="1200" dirty="0"/>
              <a:t>Haben Sie das gewünschte Bild eingefügt</a:t>
            </a:r>
            <a:br>
              <a:rPr lang="de-DE" sz="1200" dirty="0"/>
            </a:br>
            <a:r>
              <a:rPr lang="de-DE" sz="1200" b="1" i="1" dirty="0"/>
              <a:t>Rechtsklick </a:t>
            </a:r>
            <a:r>
              <a:rPr lang="de-DE" sz="1200" b="1" i="1" dirty="0">
                <a:sym typeface="Wingdings" panose="05000000000000000000" pitchFamily="2" charset="2"/>
              </a:rPr>
              <a:t></a:t>
            </a:r>
            <a:br>
              <a:rPr lang="de-DE" sz="1200" b="1" i="1" dirty="0">
                <a:sym typeface="Wingdings" panose="05000000000000000000" pitchFamily="2" charset="2"/>
              </a:rPr>
            </a:br>
            <a:r>
              <a:rPr lang="de-DE" sz="1200" b="1" i="0" dirty="0">
                <a:solidFill>
                  <a:srgbClr val="FF0000"/>
                </a:solidFill>
                <a:highlight>
                  <a:srgbClr val="F9F9F9"/>
                </a:highlight>
                <a:sym typeface="Wingdings" panose="05000000000000000000" pitchFamily="2" charset="2"/>
              </a:rPr>
              <a:t>In den Hintergrund </a:t>
            </a:r>
          </a:p>
        </p:txBody>
      </p:sp>
    </p:spTree>
    <p:extLst>
      <p:ext uri="{BB962C8B-B14F-4D97-AF65-F5344CB8AC3E}">
        <p14:creationId xmlns:p14="http://schemas.microsoft.com/office/powerpoint/2010/main" val="34131312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trenner   link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DCF6EDC-F177-4B01-8E9B-EAB815736A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1327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DCF6EDC-F177-4B01-8E9B-EAB815736A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488CA2DA-98B7-4F09-87C1-8A8782D0F5E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6655ED5-16BC-4F25-8174-C699708F651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D1B9A78-C004-49FB-8BDA-D0AC5DFCE2F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2052537"/>
            <a:ext cx="7930867" cy="3013268"/>
          </a:xfrm>
          <a:gradFill flip="none" rotWithShape="0">
            <a:gsLst>
              <a:gs pos="0">
                <a:schemeClr val="accent6"/>
              </a:gs>
              <a:gs pos="100000">
                <a:schemeClr val="accent6">
                  <a:alpha val="70000"/>
                  <a:lumMod val="54000"/>
                </a:schemeClr>
              </a:gs>
            </a:gsLst>
            <a:lin ang="6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>
            <a:normAutofit/>
          </a:bodyPr>
          <a:lstStyle>
            <a:lvl1pPr marL="0" indent="0" algn="l">
              <a:buNone/>
              <a:defRPr lang="en-GB" sz="1800" dirty="0">
                <a:solidFill>
                  <a:schemeClr val="lt1"/>
                </a:solidFill>
              </a:defRPr>
            </a:lvl1pPr>
          </a:lstStyle>
          <a:p>
            <a:pPr marL="179388" lvl="0" indent="-179388" algn="ctr" defTabSz="457200"/>
            <a:r>
              <a:rPr lang="en-GB" dirty="0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31839" y="3220617"/>
            <a:ext cx="6422630" cy="677108"/>
          </a:xfrm>
        </p:spPr>
        <p:txBody>
          <a:bodyPr wrap="square" lIns="0" tIns="0" rIns="0" bIns="0" anchor="b">
            <a:sp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hema / Bereich</a:t>
            </a:r>
          </a:p>
        </p:txBody>
      </p:sp>
      <p:sp>
        <p:nvSpPr>
          <p:cNvPr id="17" name="Bildplatzhalter 16"/>
          <p:cNvSpPr>
            <a:spLocks noGrp="1"/>
          </p:cNvSpPr>
          <p:nvPr>
            <p:ph type="pic" sz="quarter" idx="13" hasCustomPrompt="1"/>
          </p:nvPr>
        </p:nvSpPr>
        <p:spPr>
          <a:xfrm>
            <a:off x="3565154" y="4107882"/>
            <a:ext cx="756000" cy="360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A0A29180-627F-4549-B520-E6568305CD9C}"/>
              </a:ext>
            </a:extLst>
          </p:cNvPr>
          <p:cNvSpPr/>
          <p:nvPr/>
        </p:nvSpPr>
        <p:spPr>
          <a:xfrm>
            <a:off x="12432704" y="18728"/>
            <a:ext cx="1620000" cy="341632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algn="l"/>
            <a:r>
              <a:rPr lang="de-DE" sz="1200" b="1" dirty="0"/>
              <a:t>Hintergrundbild</a:t>
            </a:r>
            <a:r>
              <a:rPr lang="de-DE" sz="1200" b="1" baseline="0" dirty="0"/>
              <a:t> einfügen</a:t>
            </a:r>
          </a:p>
          <a:p>
            <a:pPr algn="l"/>
            <a:endParaRPr lang="de-DE" sz="1200" b="1" baseline="0" dirty="0"/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dirty="0"/>
              <a:t>1. Auf Bild </a:t>
            </a:r>
            <a:r>
              <a:rPr lang="de-DE" sz="1200" b="1" i="1" dirty="0"/>
              <a:t>Rechtsklick </a:t>
            </a:r>
            <a:r>
              <a:rPr lang="de-DE" sz="1200" b="1" i="1" dirty="0">
                <a:sym typeface="Wingdings" panose="05000000000000000000" pitchFamily="2" charset="2"/>
              </a:rPr>
              <a:t></a:t>
            </a:r>
            <a:br>
              <a:rPr lang="de-DE" sz="1200" b="1" i="1" dirty="0">
                <a:sym typeface="Wingdings" panose="05000000000000000000" pitchFamily="2" charset="2"/>
              </a:rPr>
            </a:br>
            <a:r>
              <a:rPr lang="de-DE" sz="1200" b="1" i="0" dirty="0">
                <a:solidFill>
                  <a:srgbClr val="FF0000"/>
                </a:solidFill>
                <a:highlight>
                  <a:srgbClr val="F9F9F9"/>
                </a:highlight>
                <a:sym typeface="Wingdings" panose="05000000000000000000" pitchFamily="2" charset="2"/>
              </a:rPr>
              <a:t>In den Vordergrund </a:t>
            </a:r>
          </a:p>
          <a:p>
            <a:pPr algn="l"/>
            <a:endParaRPr lang="de-DE" sz="1200" b="1" dirty="0"/>
          </a:p>
          <a:p>
            <a:pPr algn="l"/>
            <a:r>
              <a:rPr lang="de-DE" sz="1200" b="1" dirty="0"/>
              <a:t>2.</a:t>
            </a:r>
            <a:r>
              <a:rPr lang="de-DE" sz="1200" b="0" baseline="0" dirty="0"/>
              <a:t> Gewünschtes Bild einfügen. </a:t>
            </a:r>
            <a:r>
              <a:rPr lang="de-DE" sz="1200" dirty="0"/>
              <a:t>Klicken sie dazu auf das Bild-Icon in der Mitte des Platzhalters.</a:t>
            </a:r>
          </a:p>
          <a:p>
            <a:pPr algn="l"/>
            <a:endParaRPr lang="de-DE" sz="1200" dirty="0"/>
          </a:p>
          <a:p>
            <a:pPr algn="l"/>
            <a:r>
              <a:rPr lang="de-DE" sz="1200" b="1" dirty="0"/>
              <a:t>3. </a:t>
            </a:r>
            <a:r>
              <a:rPr lang="de-DE" sz="1200" dirty="0"/>
              <a:t>Haben Sie das gewünschte Bild eingefügt</a:t>
            </a:r>
            <a:br>
              <a:rPr lang="de-DE" sz="1200" dirty="0"/>
            </a:br>
            <a:r>
              <a:rPr lang="de-DE" sz="1200" b="1" i="1" dirty="0"/>
              <a:t>Rechtsklick </a:t>
            </a:r>
            <a:r>
              <a:rPr lang="de-DE" sz="1200" b="1" i="1" dirty="0">
                <a:sym typeface="Wingdings" panose="05000000000000000000" pitchFamily="2" charset="2"/>
              </a:rPr>
              <a:t></a:t>
            </a:r>
            <a:br>
              <a:rPr lang="de-DE" sz="1200" b="1" i="1" dirty="0">
                <a:sym typeface="Wingdings" panose="05000000000000000000" pitchFamily="2" charset="2"/>
              </a:rPr>
            </a:br>
            <a:r>
              <a:rPr lang="de-DE" sz="1200" b="1" i="0" dirty="0">
                <a:solidFill>
                  <a:srgbClr val="FF0000"/>
                </a:solidFill>
                <a:highlight>
                  <a:srgbClr val="F9F9F9"/>
                </a:highlight>
                <a:sym typeface="Wingdings" panose="05000000000000000000" pitchFamily="2" charset="2"/>
              </a:rPr>
              <a:t>In den Hintergrund </a:t>
            </a:r>
          </a:p>
        </p:txBody>
      </p:sp>
    </p:spTree>
    <p:extLst>
      <p:ext uri="{BB962C8B-B14F-4D97-AF65-F5344CB8AC3E}">
        <p14:creationId xmlns:p14="http://schemas.microsoft.com/office/powerpoint/2010/main" val="37270534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6.xml"/><Relationship Id="rId18" Type="http://schemas.openxmlformats.org/officeDocument/2006/relationships/slideLayout" Target="../slideLayouts/slideLayout51.xml"/><Relationship Id="rId26" Type="http://schemas.openxmlformats.org/officeDocument/2006/relationships/slideLayout" Target="../slideLayouts/slideLayout59.xml"/><Relationship Id="rId3" Type="http://schemas.openxmlformats.org/officeDocument/2006/relationships/slideLayout" Target="../slideLayouts/slideLayout36.xml"/><Relationship Id="rId21" Type="http://schemas.openxmlformats.org/officeDocument/2006/relationships/slideLayout" Target="../slideLayouts/slideLayout54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slideLayout" Target="../slideLayouts/slideLayout50.xml"/><Relationship Id="rId25" Type="http://schemas.openxmlformats.org/officeDocument/2006/relationships/slideLayout" Target="../slideLayouts/slideLayout58.xml"/><Relationship Id="rId33" Type="http://schemas.openxmlformats.org/officeDocument/2006/relationships/tags" Target="../tags/tag54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20" Type="http://schemas.openxmlformats.org/officeDocument/2006/relationships/slideLayout" Target="../slideLayouts/slideLayout53.xml"/><Relationship Id="rId29" Type="http://schemas.openxmlformats.org/officeDocument/2006/relationships/slideLayout" Target="../slideLayouts/slideLayout62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24" Type="http://schemas.openxmlformats.org/officeDocument/2006/relationships/slideLayout" Target="../slideLayouts/slideLayout57.xml"/><Relationship Id="rId32" Type="http://schemas.openxmlformats.org/officeDocument/2006/relationships/tags" Target="../tags/tag53.xml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23" Type="http://schemas.openxmlformats.org/officeDocument/2006/relationships/slideLayout" Target="../slideLayouts/slideLayout56.xml"/><Relationship Id="rId28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43.xml"/><Relationship Id="rId19" Type="http://schemas.openxmlformats.org/officeDocument/2006/relationships/slideLayout" Target="../slideLayouts/slideLayout52.xml"/><Relationship Id="rId31" Type="http://schemas.openxmlformats.org/officeDocument/2006/relationships/theme" Target="../theme/theme2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Relationship Id="rId22" Type="http://schemas.openxmlformats.org/officeDocument/2006/relationships/slideLayout" Target="../slideLayouts/slideLayout55.xml"/><Relationship Id="rId27" Type="http://schemas.openxmlformats.org/officeDocument/2006/relationships/slideLayout" Target="../slideLayouts/slideLayout60.xml"/><Relationship Id="rId30" Type="http://schemas.openxmlformats.org/officeDocument/2006/relationships/slideLayout" Target="../slideLayouts/slideLayout63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4ECB48A9-282A-48DE-ADDC-9741FABCB02C}"/>
              </a:ext>
            </a:extLst>
          </p:cNvPr>
          <p:cNvGraphicFramePr>
            <a:graphicFrameLocks noChangeAspect="1"/>
          </p:cNvGraphicFramePr>
          <p:nvPr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3354068106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7" imgW="383" imgH="384" progId="TCLayout.ActiveDocument.1">
                  <p:embed/>
                </p:oleObj>
              </mc:Choice>
              <mc:Fallback>
                <p:oleObj name="think-cell Folie" r:id="rId37" imgW="383" imgH="384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4ECB48A9-282A-48DE-ADDC-9741FABCB0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>
            <p:custDataLst>
              <p:tags r:id="rId3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1838" y="552420"/>
            <a:ext cx="10728325" cy="523220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pPr lvl="0" algn="ctr"/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838" y="1773238"/>
            <a:ext cx="10728325" cy="43561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31838" y="6568972"/>
            <a:ext cx="589411" cy="1538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>
              <a:defRPr lang="de-DE" sz="1000" smtClean="0"/>
            </a:lvl1pPr>
          </a:lstStyle>
          <a:p>
            <a:r>
              <a:rPr lang="de-DE" dirty="0"/>
              <a:t>13.02.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19224" y="6568973"/>
            <a:ext cx="9782719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>
              <a:defRPr lang="de-DE" sz="1000" smtClean="0"/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0476" y="6568973"/>
            <a:ext cx="259687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de-DE" sz="1000" b="1" smtClean="0"/>
            </a:lvl1pPr>
          </a:lstStyle>
          <a:p>
            <a:fld id="{C31F6BF0-11B6-44E7-8396-A4C4CF06E29F}" type="slidenum">
              <a:rPr lang="de-DE" smtClean="0"/>
              <a:t>‹Nr.›</a:t>
            </a:fld>
            <a:endParaRPr lang="de-DE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DA8D1D19-54C3-418A-A11B-72A66F1E6F0E}"/>
              </a:ext>
            </a:extLst>
          </p:cNvPr>
          <p:cNvCxnSpPr/>
          <p:nvPr/>
        </p:nvCxnSpPr>
        <p:spPr>
          <a:xfrm>
            <a:off x="5707538" y="1191349"/>
            <a:ext cx="776924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24840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  <p:sldLayoutId id="2147483768" r:id="rId12"/>
    <p:sldLayoutId id="2147483769" r:id="rId13"/>
    <p:sldLayoutId id="2147483770" r:id="rId14"/>
    <p:sldLayoutId id="2147483771" r:id="rId15"/>
    <p:sldLayoutId id="2147483772" r:id="rId16"/>
    <p:sldLayoutId id="2147483773" r:id="rId17"/>
    <p:sldLayoutId id="2147483774" r:id="rId18"/>
    <p:sldLayoutId id="2147483775" r:id="rId19"/>
    <p:sldLayoutId id="2147483776" r:id="rId20"/>
    <p:sldLayoutId id="2147483777" r:id="rId21"/>
    <p:sldLayoutId id="2147483778" r:id="rId22"/>
    <p:sldLayoutId id="2147483779" r:id="rId23"/>
    <p:sldLayoutId id="2147483780" r:id="rId24"/>
    <p:sldLayoutId id="2147483781" r:id="rId25"/>
    <p:sldLayoutId id="2147483782" r:id="rId26"/>
    <p:sldLayoutId id="2147483783" r:id="rId27"/>
    <p:sldLayoutId id="2147483784" r:id="rId28"/>
    <p:sldLayoutId id="2147483785" r:id="rId29"/>
    <p:sldLayoutId id="2147483786" r:id="rId30"/>
    <p:sldLayoutId id="2147483818" r:id="rId31"/>
    <p:sldLayoutId id="2147483819" r:id="rId32"/>
    <p:sldLayoutId id="2147483820" r:id="rId33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3400" b="0" kern="1200" dirty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lnSpc>
          <a:spcPct val="100000"/>
        </a:lnSpc>
        <a:spcBef>
          <a:spcPts val="600"/>
        </a:spcBef>
        <a:buFont typeface="Tahoma" panose="020B060403050404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9388" algn="l" defTabSz="914400" rtl="0" eaLnBrk="1" latinLnBrk="0" hangingPunct="1">
        <a:lnSpc>
          <a:spcPct val="100000"/>
        </a:lnSpc>
        <a:spcBef>
          <a:spcPts val="6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9388" algn="l" defTabSz="914400" rtl="0" eaLnBrk="1" latinLnBrk="0" hangingPunct="1">
        <a:lnSpc>
          <a:spcPct val="100000"/>
        </a:lnSpc>
        <a:spcBef>
          <a:spcPts val="6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914400" rtl="0" eaLnBrk="1" latinLnBrk="0" hangingPunct="1">
        <a:lnSpc>
          <a:spcPct val="100000"/>
        </a:lnSpc>
        <a:spcBef>
          <a:spcPts val="6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96938" indent="-179388" algn="l" defTabSz="914400" rtl="0" eaLnBrk="1" latinLnBrk="0" hangingPunct="1">
        <a:lnSpc>
          <a:spcPct val="100000"/>
        </a:lnSpc>
        <a:spcBef>
          <a:spcPts val="6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4ECB48A9-282A-48DE-ADDC-9741FABCB02C}"/>
              </a:ext>
            </a:extLst>
          </p:cNvPr>
          <p:cNvGraphicFramePr>
            <a:graphicFrameLocks noChangeAspect="1"/>
          </p:cNvGraphicFramePr>
          <p:nvPr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3255681909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4" imgW="383" imgH="384" progId="TCLayout.ActiveDocument.1">
                  <p:embed/>
                </p:oleObj>
              </mc:Choice>
              <mc:Fallback>
                <p:oleObj name="think-cell Folie" r:id="rId34" imgW="383" imgH="384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4ECB48A9-282A-48DE-ADDC-9741FABCB0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>
            <p:custDataLst>
              <p:tags r:id="rId3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1838" y="552420"/>
            <a:ext cx="10728325" cy="523220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pPr lvl="0" algn="ctr"/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838" y="1773238"/>
            <a:ext cx="10728325" cy="43561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31838" y="6568972"/>
            <a:ext cx="589411" cy="1538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>
              <a:defRPr lang="de-DE" sz="1000" smtClean="0"/>
            </a:lvl1pPr>
          </a:lstStyle>
          <a:p>
            <a:r>
              <a:rPr lang="de-DE" dirty="0"/>
              <a:t>13.02.20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19224" y="6568973"/>
            <a:ext cx="9782719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>
              <a:defRPr lang="de-DE" sz="1000" smtClean="0"/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0476" y="6568973"/>
            <a:ext cx="259687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de-DE" sz="1000" b="1" smtClean="0"/>
            </a:lvl1pPr>
          </a:lstStyle>
          <a:p>
            <a:fld id="{C31F6BF0-11B6-44E7-8396-A4C4CF06E29F}" type="slidenum">
              <a:rPr lang="de-DE" smtClean="0"/>
              <a:t>‹Nr.›</a:t>
            </a:fld>
            <a:endParaRPr lang="de-DE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DA8D1D19-54C3-418A-A11B-72A66F1E6F0E}"/>
              </a:ext>
            </a:extLst>
          </p:cNvPr>
          <p:cNvCxnSpPr/>
          <p:nvPr/>
        </p:nvCxnSpPr>
        <p:spPr>
          <a:xfrm>
            <a:off x="5707538" y="1191349"/>
            <a:ext cx="776924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833241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0" r:id="rId3"/>
    <p:sldLayoutId id="2147483791" r:id="rId4"/>
    <p:sldLayoutId id="2147483792" r:id="rId5"/>
    <p:sldLayoutId id="2147483793" r:id="rId6"/>
    <p:sldLayoutId id="2147483794" r:id="rId7"/>
    <p:sldLayoutId id="2147483795" r:id="rId8"/>
    <p:sldLayoutId id="2147483796" r:id="rId9"/>
    <p:sldLayoutId id="2147483797" r:id="rId10"/>
    <p:sldLayoutId id="2147483798" r:id="rId11"/>
    <p:sldLayoutId id="2147483799" r:id="rId12"/>
    <p:sldLayoutId id="2147483800" r:id="rId13"/>
    <p:sldLayoutId id="2147483801" r:id="rId14"/>
    <p:sldLayoutId id="2147483802" r:id="rId15"/>
    <p:sldLayoutId id="2147483803" r:id="rId16"/>
    <p:sldLayoutId id="2147483804" r:id="rId17"/>
    <p:sldLayoutId id="2147483805" r:id="rId18"/>
    <p:sldLayoutId id="2147483806" r:id="rId19"/>
    <p:sldLayoutId id="2147483807" r:id="rId20"/>
    <p:sldLayoutId id="2147483808" r:id="rId21"/>
    <p:sldLayoutId id="2147483809" r:id="rId22"/>
    <p:sldLayoutId id="2147483810" r:id="rId23"/>
    <p:sldLayoutId id="2147483811" r:id="rId24"/>
    <p:sldLayoutId id="2147483812" r:id="rId25"/>
    <p:sldLayoutId id="2147483813" r:id="rId26"/>
    <p:sldLayoutId id="2147483814" r:id="rId27"/>
    <p:sldLayoutId id="2147483815" r:id="rId28"/>
    <p:sldLayoutId id="2147483816" r:id="rId29"/>
    <p:sldLayoutId id="2147483817" r:id="rId30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3400" b="0" kern="1200" dirty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lnSpc>
          <a:spcPct val="100000"/>
        </a:lnSpc>
        <a:spcBef>
          <a:spcPts val="600"/>
        </a:spcBef>
        <a:buFont typeface="Tahoma" panose="020B060403050404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9388" algn="l" defTabSz="914400" rtl="0" eaLnBrk="1" latinLnBrk="0" hangingPunct="1">
        <a:lnSpc>
          <a:spcPct val="100000"/>
        </a:lnSpc>
        <a:spcBef>
          <a:spcPts val="6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9388" algn="l" defTabSz="914400" rtl="0" eaLnBrk="1" latinLnBrk="0" hangingPunct="1">
        <a:lnSpc>
          <a:spcPct val="100000"/>
        </a:lnSpc>
        <a:spcBef>
          <a:spcPts val="6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914400" rtl="0" eaLnBrk="1" latinLnBrk="0" hangingPunct="1">
        <a:lnSpc>
          <a:spcPct val="100000"/>
        </a:lnSpc>
        <a:spcBef>
          <a:spcPts val="6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96938" indent="-179388" algn="l" defTabSz="914400" rtl="0" eaLnBrk="1" latinLnBrk="0" hangingPunct="1">
        <a:lnSpc>
          <a:spcPct val="100000"/>
        </a:lnSpc>
        <a:spcBef>
          <a:spcPts val="6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38.xml"/><Relationship Id="rId1" Type="http://schemas.openxmlformats.org/officeDocument/2006/relationships/tags" Target="../tags/tag105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17.xml"/><Relationship Id="rId6" Type="http://schemas.openxmlformats.org/officeDocument/2006/relationships/image" Target="../media/image5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g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52.png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notesSlide" Target="../notesSlides/notesSlide3.xml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62.png"/><Relationship Id="rId18" Type="http://schemas.openxmlformats.org/officeDocument/2006/relationships/image" Target="../media/image66.png"/><Relationship Id="rId26" Type="http://schemas.openxmlformats.org/officeDocument/2006/relationships/image" Target="../media/image73.png"/><Relationship Id="rId39" Type="http://schemas.openxmlformats.org/officeDocument/2006/relationships/image" Target="../media/image83.png"/><Relationship Id="rId21" Type="http://schemas.openxmlformats.org/officeDocument/2006/relationships/hyperlink" Target="http://www.innovent-jena.de/de/site__2/" TargetMode="External"/><Relationship Id="rId34" Type="http://schemas.openxmlformats.org/officeDocument/2006/relationships/image" Target="../media/image79.gif"/><Relationship Id="rId42" Type="http://schemas.openxmlformats.org/officeDocument/2006/relationships/image" Target="../media/image86.png"/><Relationship Id="rId47" Type="http://schemas.openxmlformats.org/officeDocument/2006/relationships/image" Target="../media/image91.png"/><Relationship Id="rId50" Type="http://schemas.openxmlformats.org/officeDocument/2006/relationships/image" Target="../media/image94.png"/><Relationship Id="rId55" Type="http://schemas.openxmlformats.org/officeDocument/2006/relationships/image" Target="../media/image98.png"/><Relationship Id="rId63" Type="http://schemas.openxmlformats.org/officeDocument/2006/relationships/image" Target="../media/image104.png"/><Relationship Id="rId7" Type="http://schemas.openxmlformats.org/officeDocument/2006/relationships/image" Target="../media/image57.png"/><Relationship Id="rId2" Type="http://schemas.openxmlformats.org/officeDocument/2006/relationships/hyperlink" Target="http://www.k-utec.de/" TargetMode="External"/><Relationship Id="rId16" Type="http://schemas.openxmlformats.org/officeDocument/2006/relationships/image" Target="../media/image64.png"/><Relationship Id="rId29" Type="http://schemas.openxmlformats.org/officeDocument/2006/relationships/image" Target="../media/image76.png"/><Relationship Id="rId11" Type="http://schemas.openxmlformats.org/officeDocument/2006/relationships/image" Target="../media/image60.jpeg"/><Relationship Id="rId24" Type="http://schemas.openxmlformats.org/officeDocument/2006/relationships/image" Target="../media/image71.png"/><Relationship Id="rId32" Type="http://schemas.openxmlformats.org/officeDocument/2006/relationships/hyperlink" Target="http://www.umweltsensortechnik.de/index.php" TargetMode="External"/><Relationship Id="rId37" Type="http://schemas.openxmlformats.org/officeDocument/2006/relationships/image" Target="../media/image81.png"/><Relationship Id="rId40" Type="http://schemas.openxmlformats.org/officeDocument/2006/relationships/image" Target="../media/image84.png"/><Relationship Id="rId45" Type="http://schemas.openxmlformats.org/officeDocument/2006/relationships/image" Target="../media/image89.png"/><Relationship Id="rId53" Type="http://schemas.openxmlformats.org/officeDocument/2006/relationships/image" Target="../media/image96.png"/><Relationship Id="rId58" Type="http://schemas.openxmlformats.org/officeDocument/2006/relationships/image" Target="../media/image100.png"/><Relationship Id="rId5" Type="http://schemas.openxmlformats.org/officeDocument/2006/relationships/hyperlink" Target="http://www.talgaresources.com/irm/content/default.aspx" TargetMode="External"/><Relationship Id="rId61" Type="http://schemas.openxmlformats.org/officeDocument/2006/relationships/image" Target="../media/image102.gif"/><Relationship Id="rId19" Type="http://schemas.openxmlformats.org/officeDocument/2006/relationships/image" Target="../media/image67.jpeg"/><Relationship Id="rId14" Type="http://schemas.openxmlformats.org/officeDocument/2006/relationships/hyperlink" Target="http://www.pades-net.de/" TargetMode="External"/><Relationship Id="rId22" Type="http://schemas.openxmlformats.org/officeDocument/2006/relationships/image" Target="../media/image69.gif"/><Relationship Id="rId27" Type="http://schemas.openxmlformats.org/officeDocument/2006/relationships/image" Target="../media/image74.png"/><Relationship Id="rId30" Type="http://schemas.openxmlformats.org/officeDocument/2006/relationships/hyperlink" Target="http://www.siegert.de/de/" TargetMode="External"/><Relationship Id="rId35" Type="http://schemas.openxmlformats.org/officeDocument/2006/relationships/image" Target="../media/image80.jpeg"/><Relationship Id="rId43" Type="http://schemas.openxmlformats.org/officeDocument/2006/relationships/image" Target="../media/image87.png"/><Relationship Id="rId48" Type="http://schemas.openxmlformats.org/officeDocument/2006/relationships/image" Target="../media/image92.png"/><Relationship Id="rId56" Type="http://schemas.openxmlformats.org/officeDocument/2006/relationships/hyperlink" Target="http://www.glatt.com/de/home/" TargetMode="External"/><Relationship Id="rId8" Type="http://schemas.openxmlformats.org/officeDocument/2006/relationships/hyperlink" Target="https://www.grafe.com/" TargetMode="External"/><Relationship Id="rId51" Type="http://schemas.openxmlformats.org/officeDocument/2006/relationships/image" Target="../media/image16.png"/><Relationship Id="rId3" Type="http://schemas.openxmlformats.org/officeDocument/2006/relationships/image" Target="../media/image54.png"/><Relationship Id="rId12" Type="http://schemas.openxmlformats.org/officeDocument/2006/relationships/image" Target="../media/image61.png"/><Relationship Id="rId17" Type="http://schemas.openxmlformats.org/officeDocument/2006/relationships/image" Target="../media/image65.png"/><Relationship Id="rId25" Type="http://schemas.openxmlformats.org/officeDocument/2006/relationships/image" Target="../media/image72.png"/><Relationship Id="rId33" Type="http://schemas.openxmlformats.org/officeDocument/2006/relationships/image" Target="../media/image78.png"/><Relationship Id="rId38" Type="http://schemas.openxmlformats.org/officeDocument/2006/relationships/image" Target="../media/image82.png"/><Relationship Id="rId46" Type="http://schemas.openxmlformats.org/officeDocument/2006/relationships/image" Target="../media/image90.png"/><Relationship Id="rId59" Type="http://schemas.openxmlformats.org/officeDocument/2006/relationships/image" Target="../media/image101.png"/><Relationship Id="rId20" Type="http://schemas.openxmlformats.org/officeDocument/2006/relationships/image" Target="../media/image68.gif"/><Relationship Id="rId41" Type="http://schemas.openxmlformats.org/officeDocument/2006/relationships/image" Target="../media/image85.png"/><Relationship Id="rId54" Type="http://schemas.openxmlformats.org/officeDocument/2006/relationships/image" Target="../media/image97.png"/><Relationship Id="rId62" Type="http://schemas.openxmlformats.org/officeDocument/2006/relationships/image" Target="../media/image103.png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56.png"/><Relationship Id="rId15" Type="http://schemas.openxmlformats.org/officeDocument/2006/relationships/image" Target="../media/image63.png"/><Relationship Id="rId23" Type="http://schemas.openxmlformats.org/officeDocument/2006/relationships/image" Target="../media/image70.png"/><Relationship Id="rId28" Type="http://schemas.openxmlformats.org/officeDocument/2006/relationships/image" Target="../media/image75.png"/><Relationship Id="rId36" Type="http://schemas.openxmlformats.org/officeDocument/2006/relationships/hyperlink" Target="http://www.epc.com/" TargetMode="External"/><Relationship Id="rId49" Type="http://schemas.openxmlformats.org/officeDocument/2006/relationships/image" Target="../media/image93.png"/><Relationship Id="rId57" Type="http://schemas.openxmlformats.org/officeDocument/2006/relationships/image" Target="../media/image99.jpeg"/><Relationship Id="rId10" Type="http://schemas.openxmlformats.org/officeDocument/2006/relationships/image" Target="../media/image59.png"/><Relationship Id="rId31" Type="http://schemas.openxmlformats.org/officeDocument/2006/relationships/image" Target="../media/image77.png"/><Relationship Id="rId44" Type="http://schemas.openxmlformats.org/officeDocument/2006/relationships/image" Target="../media/image88.png"/><Relationship Id="rId52" Type="http://schemas.openxmlformats.org/officeDocument/2006/relationships/image" Target="../media/image95.png"/><Relationship Id="rId60" Type="http://schemas.openxmlformats.org/officeDocument/2006/relationships/hyperlink" Target="http://www.fermeth.de/" TargetMode="External"/><Relationship Id="rId4" Type="http://schemas.openxmlformats.org/officeDocument/2006/relationships/image" Target="../media/image55.png"/><Relationship Id="rId9" Type="http://schemas.openxmlformats.org/officeDocument/2006/relationships/image" Target="../media/image5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chart" Target="../charts/chart2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image" Target="../media/image10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110.svg"/><Relationship Id="rId5" Type="http://schemas.openxmlformats.org/officeDocument/2006/relationships/image" Target="../media/image109.png"/><Relationship Id="rId4" Type="http://schemas.openxmlformats.org/officeDocument/2006/relationships/image" Target="../media/image108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3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3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4.png"/><Relationship Id="rId18" Type="http://schemas.openxmlformats.org/officeDocument/2006/relationships/image" Target="../media/image19.png"/><Relationship Id="rId26" Type="http://schemas.openxmlformats.org/officeDocument/2006/relationships/image" Target="../media/image27.png"/><Relationship Id="rId39" Type="http://schemas.openxmlformats.org/officeDocument/2006/relationships/image" Target="../media/image39.png"/><Relationship Id="rId21" Type="http://schemas.openxmlformats.org/officeDocument/2006/relationships/image" Target="../media/image22.jpeg"/><Relationship Id="rId34" Type="http://schemas.openxmlformats.org/officeDocument/2006/relationships/image" Target="../media/image34.png"/><Relationship Id="rId7" Type="http://schemas.microsoft.com/office/2007/relationships/hdphoto" Target="../media/hdphoto1.wdp"/><Relationship Id="rId12" Type="http://schemas.openxmlformats.org/officeDocument/2006/relationships/image" Target="../media/image13.png"/><Relationship Id="rId17" Type="http://schemas.openxmlformats.org/officeDocument/2006/relationships/image" Target="../media/image18.png"/><Relationship Id="rId25" Type="http://schemas.openxmlformats.org/officeDocument/2006/relationships/image" Target="../media/image26.png"/><Relationship Id="rId33" Type="http://schemas.openxmlformats.org/officeDocument/2006/relationships/image" Target="../media/image33.png"/><Relationship Id="rId38" Type="http://schemas.openxmlformats.org/officeDocument/2006/relationships/image" Target="../media/image38.png"/><Relationship Id="rId2" Type="http://schemas.openxmlformats.org/officeDocument/2006/relationships/tags" Target="../tags/tag111.xml"/><Relationship Id="rId16" Type="http://schemas.openxmlformats.org/officeDocument/2006/relationships/image" Target="../media/image17.png"/><Relationship Id="rId20" Type="http://schemas.openxmlformats.org/officeDocument/2006/relationships/image" Target="../media/image21.png"/><Relationship Id="rId29" Type="http://schemas.openxmlformats.org/officeDocument/2006/relationships/image" Target="../media/image30.png"/><Relationship Id="rId1" Type="http://schemas.openxmlformats.org/officeDocument/2006/relationships/tags" Target="../tags/tag110.xml"/><Relationship Id="rId6" Type="http://schemas.openxmlformats.org/officeDocument/2006/relationships/image" Target="../media/image9.png"/><Relationship Id="rId11" Type="http://schemas.openxmlformats.org/officeDocument/2006/relationships/image" Target="../media/image12.png"/><Relationship Id="rId24" Type="http://schemas.openxmlformats.org/officeDocument/2006/relationships/image" Target="../media/image25.jpeg"/><Relationship Id="rId32" Type="http://schemas.openxmlformats.org/officeDocument/2006/relationships/image" Target="../media/image32.png"/><Relationship Id="rId37" Type="http://schemas.openxmlformats.org/officeDocument/2006/relationships/image" Target="../media/image37.png"/><Relationship Id="rId5" Type="http://schemas.openxmlformats.org/officeDocument/2006/relationships/image" Target="../media/image1.emf"/><Relationship Id="rId15" Type="http://schemas.openxmlformats.org/officeDocument/2006/relationships/image" Target="../media/image16.png"/><Relationship Id="rId23" Type="http://schemas.openxmlformats.org/officeDocument/2006/relationships/image" Target="../media/image24.jpeg"/><Relationship Id="rId28" Type="http://schemas.openxmlformats.org/officeDocument/2006/relationships/image" Target="../media/image29.png"/><Relationship Id="rId36" Type="http://schemas.openxmlformats.org/officeDocument/2006/relationships/image" Target="../media/image36.png"/><Relationship Id="rId10" Type="http://schemas.microsoft.com/office/2007/relationships/hdphoto" Target="../media/hdphoto2.wdp"/><Relationship Id="rId19" Type="http://schemas.openxmlformats.org/officeDocument/2006/relationships/image" Target="../media/image20.png"/><Relationship Id="rId31" Type="http://schemas.openxmlformats.org/officeDocument/2006/relationships/image" Target="../media/image31.png"/><Relationship Id="rId4" Type="http://schemas.openxmlformats.org/officeDocument/2006/relationships/oleObject" Target="../embeddings/oleObject28.bin"/><Relationship Id="rId9" Type="http://schemas.openxmlformats.org/officeDocument/2006/relationships/image" Target="../media/image11.png"/><Relationship Id="rId14" Type="http://schemas.openxmlformats.org/officeDocument/2006/relationships/image" Target="../media/image15.png"/><Relationship Id="rId22" Type="http://schemas.openxmlformats.org/officeDocument/2006/relationships/image" Target="../media/image23.png"/><Relationship Id="rId27" Type="http://schemas.openxmlformats.org/officeDocument/2006/relationships/image" Target="../media/image28.png"/><Relationship Id="rId30" Type="http://schemas.microsoft.com/office/2007/relationships/hdphoto" Target="../media/hdphoto3.wdp"/><Relationship Id="rId35" Type="http://schemas.openxmlformats.org/officeDocument/2006/relationships/image" Target="../media/image35.png"/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7" Type="http://schemas.microsoft.com/office/2007/relationships/hdphoto" Target="../media/hdphoto4.wdp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image" Target="../media/image4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g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13" Type="http://schemas.openxmlformats.org/officeDocument/2006/relationships/image" Target="../media/image49.jpe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4.jpeg"/><Relationship Id="rId12" Type="http://schemas.openxmlformats.org/officeDocument/2006/relationships/image" Target="../media/image48.jpe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16.xml"/><Relationship Id="rId6" Type="http://schemas.openxmlformats.org/officeDocument/2006/relationships/image" Target="../media/image43.jpeg"/><Relationship Id="rId11" Type="http://schemas.openxmlformats.org/officeDocument/2006/relationships/image" Target="../media/image47.jpeg"/><Relationship Id="rId5" Type="http://schemas.openxmlformats.org/officeDocument/2006/relationships/image" Target="../media/image1.emf"/><Relationship Id="rId10" Type="http://schemas.openxmlformats.org/officeDocument/2006/relationships/image" Target="../media/image35.png"/><Relationship Id="rId4" Type="http://schemas.openxmlformats.org/officeDocument/2006/relationships/oleObject" Target="../embeddings/oleObject31.bin"/><Relationship Id="rId9" Type="http://schemas.openxmlformats.org/officeDocument/2006/relationships/image" Target="../media/image4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Thüringen</a:t>
            </a:r>
          </a:p>
        </p:txBody>
      </p:sp>
      <p:sp>
        <p:nvSpPr>
          <p:cNvPr id="5" name="Untertitel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Starker Industriestandort in der Mitte Deutschlands und Europas</a:t>
            </a:r>
          </a:p>
        </p:txBody>
      </p:sp>
      <p:sp>
        <p:nvSpPr>
          <p:cNvPr id="2" name="btfpLayoutConfig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de-DE" sz="100" dirty="0">
                <a:solidFill>
                  <a:srgbClr val="FFFFFF">
                    <a:alpha val="0"/>
                  </a:srgbClr>
                </a:solidFill>
              </a:rPr>
              <a:t>overall_1_132077572745625327 columns_1_132077572745625327 </a:t>
            </a:r>
          </a:p>
        </p:txBody>
      </p:sp>
    </p:spTree>
    <p:extLst>
      <p:ext uri="{BB962C8B-B14F-4D97-AF65-F5344CB8AC3E}">
        <p14:creationId xmlns:p14="http://schemas.microsoft.com/office/powerpoint/2010/main" val="23657447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F91FCC0B-A554-4072-9600-8EE05ADD03A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F91FCC0B-A554-4072-9600-8EE05ADD03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2" name="Bildplatzhalter 31">
            <a:extLst>
              <a:ext uri="{FF2B5EF4-FFF2-40B4-BE49-F238E27FC236}">
                <a16:creationId xmlns:a16="http://schemas.microsoft.com/office/drawing/2014/main" id="{B94F54C0-C8F8-4F7C-B170-5EFEDB0FE6E9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6"/>
          <a:srcRect l="44845" r="24162"/>
          <a:stretch/>
        </p:blipFill>
        <p:spPr>
          <a:xfrm>
            <a:off x="-16476" y="0"/>
            <a:ext cx="3328089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143D10C-D9B7-4C07-B16B-CE58B853D5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6046" y="369105"/>
            <a:ext cx="5364163" cy="1046440"/>
          </a:xfrm>
        </p:spPr>
        <p:txBody>
          <a:bodyPr/>
          <a:lstStyle/>
          <a:p>
            <a:r>
              <a:rPr lang="de-DE" dirty="0"/>
              <a:t>Batterie-Giga-</a:t>
            </a:r>
            <a:r>
              <a:rPr lang="de-DE" dirty="0" err="1"/>
              <a:t>Fab</a:t>
            </a:r>
            <a:r>
              <a:rPr lang="de-DE" dirty="0"/>
              <a:t> in Thüring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D301A33-0079-48E2-A660-F66390D2D0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13123D-ADC2-423E-8E38-66EF22156AFA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917801C-502B-4041-9233-5E78B5F81F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19570" y="1874535"/>
            <a:ext cx="5741771" cy="4878259"/>
          </a:xfr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300" dirty="0"/>
              <a:t>Chinesischer Batteriehersteller </a:t>
            </a:r>
            <a:r>
              <a:rPr lang="de-DE" sz="1300" b="1" dirty="0"/>
              <a:t>CATL – Contemporary </a:t>
            </a:r>
            <a:r>
              <a:rPr lang="de-DE" sz="1300" b="1" dirty="0" err="1"/>
              <a:t>Amperex</a:t>
            </a:r>
            <a:r>
              <a:rPr lang="de-DE" sz="1300" b="1" dirty="0"/>
              <a:t> Technology Ltd.  </a:t>
            </a:r>
            <a:r>
              <a:rPr lang="de-DE" sz="1300" dirty="0"/>
              <a:t>baut in Thüringen erste europäische Batteriezellfabrik</a:t>
            </a:r>
          </a:p>
          <a:p>
            <a:pPr>
              <a:lnSpc>
                <a:spcPct val="120000"/>
              </a:lnSpc>
            </a:pPr>
            <a:r>
              <a:rPr lang="de-DE" sz="1300"/>
              <a:t>In 2018 </a:t>
            </a:r>
            <a:r>
              <a:rPr lang="de-DE" sz="1300" dirty="0"/>
              <a:t>gibt </a:t>
            </a:r>
            <a:r>
              <a:rPr lang="de-DE" sz="1300"/>
              <a:t>CATL bekannt, in Thüringen zu investieren in die gesamte value chain:</a:t>
            </a:r>
          </a:p>
          <a:p>
            <a:pPr lvl="1">
              <a:spcBef>
                <a:spcPts val="300"/>
              </a:spcBef>
            </a:pPr>
            <a:r>
              <a:rPr lang="de-DE" sz="1300" b="1"/>
              <a:t>Produktion von Zellen und Batterien </a:t>
            </a:r>
          </a:p>
          <a:p>
            <a:pPr lvl="1">
              <a:spcBef>
                <a:spcPts val="300"/>
              </a:spcBef>
            </a:pPr>
            <a:r>
              <a:rPr lang="de-DE" sz="1300" b="1"/>
              <a:t>Verwaltung, Vertrieb, Logistik</a:t>
            </a:r>
          </a:p>
          <a:p>
            <a:pPr lvl="1">
              <a:spcBef>
                <a:spcPts val="300"/>
              </a:spcBef>
            </a:pPr>
            <a:r>
              <a:rPr lang="de-DE" sz="1300" b="1"/>
              <a:t>Forschung und Entwicklung</a:t>
            </a:r>
          </a:p>
          <a:p>
            <a:pPr lvl="1">
              <a:spcBef>
                <a:spcPts val="300"/>
              </a:spcBef>
            </a:pPr>
            <a:r>
              <a:rPr lang="de-DE" sz="1300" b="1"/>
              <a:t>europäisches Headquarter </a:t>
            </a:r>
            <a:endParaRPr lang="de-DE" sz="1300" b="1" dirty="0"/>
          </a:p>
          <a:p>
            <a:r>
              <a:rPr lang="de-DE" sz="1300" dirty="0"/>
              <a:t>Grundsteinlegung im </a:t>
            </a:r>
            <a:r>
              <a:rPr lang="de-DE" sz="1300"/>
              <a:t>Oktober 2019 </a:t>
            </a:r>
            <a:endParaRPr lang="de-DE" sz="1300" dirty="0"/>
          </a:p>
          <a:p>
            <a:r>
              <a:rPr lang="de-DE" sz="1300" dirty="0"/>
              <a:t>Anfänglicher Output von 14 </a:t>
            </a:r>
            <a:r>
              <a:rPr lang="de-DE" sz="1300" err="1"/>
              <a:t>GWh</a:t>
            </a:r>
            <a:r>
              <a:rPr lang="de-DE" sz="1300"/>
              <a:t> = 140.000 Batterien (bei 100 kWh)</a:t>
            </a:r>
            <a:endParaRPr lang="de-DE" sz="1300" dirty="0"/>
          </a:p>
          <a:p>
            <a:r>
              <a:rPr lang="de-DE" sz="1300" dirty="0"/>
              <a:t>Gründe, die für Thüringen sprechen:</a:t>
            </a:r>
          </a:p>
          <a:p>
            <a:pPr lvl="1"/>
            <a:r>
              <a:rPr lang="de-DE" sz="1300" dirty="0"/>
              <a:t>Zentrale Lage in Europa</a:t>
            </a:r>
          </a:p>
          <a:p>
            <a:pPr lvl="1"/>
            <a:r>
              <a:rPr lang="de-DE" sz="1300" dirty="0"/>
              <a:t>Verfügbarkeit hochqualifizierter Mitarbeiter</a:t>
            </a:r>
          </a:p>
          <a:p>
            <a:pPr lvl="1"/>
            <a:r>
              <a:rPr lang="de-DE" sz="1300" dirty="0"/>
              <a:t>Forschungskooperation</a:t>
            </a:r>
          </a:p>
          <a:p>
            <a:pPr lvl="1"/>
            <a:r>
              <a:rPr lang="de-DE" sz="1300" dirty="0"/>
              <a:t>Schnelles Handeln der Landesregierung</a:t>
            </a:r>
          </a:p>
          <a:p>
            <a:pPr marL="179388" lvl="1">
              <a:lnSpc>
                <a:spcPct val="110000"/>
              </a:lnSpc>
              <a:buFont typeface="Tahoma" panose="020B0604030504040204" pitchFamily="34" charset="0"/>
              <a:buChar char="›"/>
            </a:pPr>
            <a:r>
              <a:rPr lang="de-DE" sz="1300" dirty="0"/>
              <a:t>Investitionsprojekte mit </a:t>
            </a:r>
            <a:r>
              <a:rPr lang="de-DE" sz="1300"/>
              <a:t>ersten Zulieferern laufen, wie z.B. Marquardt Systronics (Batteriemanagement-Systeme)</a:t>
            </a:r>
            <a:endParaRPr lang="de-DE" sz="1300" dirty="0"/>
          </a:p>
          <a:p>
            <a:pPr marL="0" lvl="1" indent="0">
              <a:buNone/>
              <a:tabLst>
                <a:tab pos="180975" algn="l"/>
              </a:tabLst>
            </a:pPr>
            <a:r>
              <a:rPr lang="de-DE" sz="1300" dirty="0"/>
              <a:t>	=&gt; Entwicklung </a:t>
            </a:r>
            <a:r>
              <a:rPr lang="de-DE" sz="1300"/>
              <a:t>eines Batterie-Clusters </a:t>
            </a:r>
            <a:endParaRPr lang="de-DE" sz="140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3316399" y="0"/>
            <a:ext cx="2682081" cy="6858000"/>
          </a:xfrm>
        </p:spPr>
        <p:txBody>
          <a:bodyPr/>
          <a:lstStyle/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6"/>
          </p:nvPr>
        </p:nvSpPr>
        <p:spPr>
          <a:xfrm>
            <a:off x="3608048" y="1052736"/>
            <a:ext cx="2098782" cy="1461939"/>
          </a:xfrm>
        </p:spPr>
        <p:txBody>
          <a:bodyPr/>
          <a:lstStyle/>
          <a:p>
            <a:r>
              <a:rPr lang="de-DE"/>
              <a:t>Erfolgs-geschichte</a:t>
            </a:r>
          </a:p>
          <a:p>
            <a:endParaRPr lang="de-DE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05F16F3F-5E13-4A20-87F4-65D3ED0FEF91}"/>
              </a:ext>
            </a:extLst>
          </p:cNvPr>
          <p:cNvSpPr/>
          <p:nvPr/>
        </p:nvSpPr>
        <p:spPr>
          <a:xfrm>
            <a:off x="3528001" y="3971156"/>
            <a:ext cx="191590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3600" kern="0" spc="300" dirty="0">
                <a:solidFill>
                  <a:schemeClr val="bg1"/>
                </a:solidFill>
              </a:rPr>
              <a:t>~ 2.000</a:t>
            </a:r>
            <a:endParaRPr lang="de-DE" sz="3600" spc="300" dirty="0">
              <a:solidFill>
                <a:schemeClr val="bg1"/>
              </a:solidFill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E92B761D-8354-4AB5-A19E-233F4297F4CA}"/>
              </a:ext>
            </a:extLst>
          </p:cNvPr>
          <p:cNvSpPr/>
          <p:nvPr/>
        </p:nvSpPr>
        <p:spPr>
          <a:xfrm>
            <a:off x="3521439" y="4589080"/>
            <a:ext cx="109356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400" kern="0" dirty="0">
                <a:solidFill>
                  <a:schemeClr val="bg1"/>
                </a:solidFill>
              </a:rPr>
              <a:t>Mitarbeiter</a:t>
            </a:r>
            <a:endParaRPr lang="de-DE" sz="1400" dirty="0">
              <a:solidFill>
                <a:schemeClr val="bg1"/>
              </a:solidFill>
            </a:endParaRP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24FB4037-E4F2-4496-8986-2EF4F35FB495}"/>
              </a:ext>
            </a:extLst>
          </p:cNvPr>
          <p:cNvCxnSpPr/>
          <p:nvPr/>
        </p:nvCxnSpPr>
        <p:spPr>
          <a:xfrm>
            <a:off x="3597613" y="4559161"/>
            <a:ext cx="2196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>
            <a:extLst>
              <a:ext uri="{FF2B5EF4-FFF2-40B4-BE49-F238E27FC236}">
                <a16:creationId xmlns:a16="http://schemas.microsoft.com/office/drawing/2014/main" id="{B5E19EE9-C351-49F8-B171-4372CAC2FAF4}"/>
              </a:ext>
            </a:extLst>
          </p:cNvPr>
          <p:cNvSpPr/>
          <p:nvPr/>
        </p:nvSpPr>
        <p:spPr>
          <a:xfrm>
            <a:off x="3528001" y="4950693"/>
            <a:ext cx="2130711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3600" kern="0" dirty="0">
                <a:solidFill>
                  <a:schemeClr val="bg1"/>
                </a:solidFill>
              </a:rPr>
              <a:t>~ </a:t>
            </a:r>
            <a:r>
              <a:rPr lang="de-DE" sz="3600" kern="0" spc="300" dirty="0">
                <a:solidFill>
                  <a:schemeClr val="bg1"/>
                </a:solidFill>
              </a:rPr>
              <a:t>1,8</a:t>
            </a:r>
            <a:r>
              <a:rPr lang="de-DE" sz="3600" kern="0" dirty="0">
                <a:solidFill>
                  <a:schemeClr val="bg1"/>
                </a:solidFill>
              </a:rPr>
              <a:t> </a:t>
            </a:r>
            <a:r>
              <a:rPr lang="de-DE" sz="2000" kern="0" dirty="0">
                <a:solidFill>
                  <a:schemeClr val="bg1"/>
                </a:solidFill>
              </a:rPr>
              <a:t>Mrd. € </a:t>
            </a:r>
            <a:endParaRPr lang="de-DE" sz="3600" dirty="0">
              <a:solidFill>
                <a:schemeClr val="bg1"/>
              </a:solidFill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ACCA347A-4A8F-478B-8C78-EA4441B084E3}"/>
              </a:ext>
            </a:extLst>
          </p:cNvPr>
          <p:cNvSpPr/>
          <p:nvPr/>
        </p:nvSpPr>
        <p:spPr>
          <a:xfrm>
            <a:off x="3521439" y="5568617"/>
            <a:ext cx="184377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400" kern="0" dirty="0">
                <a:solidFill>
                  <a:schemeClr val="bg1"/>
                </a:solidFill>
              </a:rPr>
              <a:t>Investitionsvolumen</a:t>
            </a:r>
            <a:endParaRPr lang="de-DE" sz="1400" dirty="0">
              <a:solidFill>
                <a:schemeClr val="bg1"/>
              </a:solidFill>
            </a:endParaRP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602BF390-0684-43FE-968C-B1D8B944A508}"/>
              </a:ext>
            </a:extLst>
          </p:cNvPr>
          <p:cNvCxnSpPr/>
          <p:nvPr/>
        </p:nvCxnSpPr>
        <p:spPr>
          <a:xfrm>
            <a:off x="3597613" y="5538698"/>
            <a:ext cx="2196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hteck 28">
            <a:extLst>
              <a:ext uri="{FF2B5EF4-FFF2-40B4-BE49-F238E27FC236}">
                <a16:creationId xmlns:a16="http://schemas.microsoft.com/office/drawing/2014/main" id="{BC32DD35-6F61-4D7D-8819-EE0766CACB35}"/>
              </a:ext>
            </a:extLst>
          </p:cNvPr>
          <p:cNvSpPr/>
          <p:nvPr/>
        </p:nvSpPr>
        <p:spPr>
          <a:xfrm>
            <a:off x="1944370" y="6552496"/>
            <a:ext cx="1087157" cy="27699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900" err="1">
                <a:latin typeface="+mj-lt"/>
              </a:rPr>
              <a:t>Hauptsitz</a:t>
            </a:r>
            <a:r>
              <a:rPr lang="en-US" sz="900">
                <a:latin typeface="+mj-lt"/>
              </a:rPr>
              <a:t> von CATL  </a:t>
            </a:r>
            <a:r>
              <a:rPr lang="en-US" sz="900" dirty="0">
                <a:latin typeface="+mj-lt"/>
              </a:rPr>
              <a:t>in </a:t>
            </a:r>
            <a:r>
              <a:rPr lang="en-US" sz="900" dirty="0" err="1">
                <a:latin typeface="+mj-lt"/>
              </a:rPr>
              <a:t>Ningde</a:t>
            </a:r>
            <a:r>
              <a:rPr lang="en-US" sz="900" dirty="0">
                <a:latin typeface="+mj-lt"/>
              </a:rPr>
              <a:t>, China</a:t>
            </a:r>
          </a:p>
        </p:txBody>
      </p:sp>
    </p:spTree>
    <p:extLst>
      <p:ext uri="{BB962C8B-B14F-4D97-AF65-F5344CB8AC3E}">
        <p14:creationId xmlns:p14="http://schemas.microsoft.com/office/powerpoint/2010/main" val="3306223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atterie-Innovations- und Technologie Center – BITC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731839" y="1773238"/>
            <a:ext cx="4408572" cy="4356100"/>
          </a:xfrm>
        </p:spPr>
        <p:txBody>
          <a:bodyPr>
            <a:normAutofit/>
          </a:bodyPr>
          <a:lstStyle/>
          <a:p>
            <a:pPr>
              <a:spcBef>
                <a:spcPts val="1200"/>
              </a:spcBef>
            </a:pPr>
            <a:r>
              <a:rPr lang="de-DE" sz="1400"/>
              <a:t>Weiterer Baustein in der Entwicklung Thüringens zum Batterietechnologie-Standort</a:t>
            </a:r>
          </a:p>
          <a:p>
            <a:pPr>
              <a:spcBef>
                <a:spcPts val="1200"/>
              </a:spcBef>
            </a:pPr>
            <a:r>
              <a:rPr lang="de-DE" sz="1400"/>
              <a:t>Fraunhofer Institut für Keramische Technologien und Systeme – IKTS gründet am Erfurter Kreuz ein </a:t>
            </a:r>
            <a:r>
              <a:rPr lang="de-DE" sz="1400" b="1"/>
              <a:t>digitalisiertes Test-Center für Batterien und Batteriekomponenten</a:t>
            </a:r>
          </a:p>
          <a:p>
            <a:pPr>
              <a:spcBef>
                <a:spcPts val="1200"/>
              </a:spcBef>
            </a:pPr>
            <a:r>
              <a:rPr lang="de-DE" sz="1400"/>
              <a:t>Industriepartner ist CATL – Innovationen können sofort in Produktion einfließen</a:t>
            </a:r>
          </a:p>
          <a:p>
            <a:pPr>
              <a:spcBef>
                <a:spcPts val="1200"/>
              </a:spcBef>
            </a:pPr>
            <a:r>
              <a:rPr lang="de-DE" sz="1400"/>
              <a:t>Initialprojekt „BattLife“ – damit Batterien länger leben</a:t>
            </a:r>
          </a:p>
          <a:p>
            <a:pPr>
              <a:spcBef>
                <a:spcPts val="1200"/>
              </a:spcBef>
            </a:pPr>
            <a:r>
              <a:rPr lang="de-DE" sz="1400"/>
              <a:t>Verlängerung der Lebensdauer von Batterien ist entscheidend für die Weiterentwicklung und Akzeptanz von E-Mobilität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9" name="Bildplatzhalter 8"/>
          <p:cNvPicPr>
            <a:picLocks noGrp="1" noChangeAspect="1"/>
          </p:cNvPicPr>
          <p:nvPr>
            <p:ph type="pic" sz="quarter" idx="14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85" b="1885"/>
          <a:stretch>
            <a:fillRect/>
          </a:stretch>
        </p:blipFill>
        <p:spPr/>
      </p:pic>
      <p:sp>
        <p:nvSpPr>
          <p:cNvPr id="10" name="Foliennummernplatzhalter 5">
            <a:extLst>
              <a:ext uri="{FF2B5EF4-FFF2-40B4-BE49-F238E27FC236}">
                <a16:creationId xmlns:a16="http://schemas.microsoft.com/office/drawing/2014/main" id="{0D301A33-0079-48E2-A660-F66390D2D0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6889" y="6568973"/>
            <a:ext cx="253274" cy="153888"/>
          </a:xfrm>
        </p:spPr>
        <p:txBody>
          <a:bodyPr/>
          <a:lstStyle/>
          <a:p>
            <a:fld id="{1213123D-ADC2-423E-8E38-66EF22156AFA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72190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F91FCC0B-A554-4072-9600-8EE05ADD03A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83" imgH="384" progId="TCLayout.ActiveDocument.1">
                  <p:embed/>
                </p:oleObj>
              </mc:Choice>
              <mc:Fallback>
                <p:oleObj name="think-cell Folie" r:id="rId5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F91FCC0B-A554-4072-9600-8EE05ADD03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2C6C6F87-A7E0-4A1E-9314-CDD1A430FF7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340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143D10C-D9B7-4C07-B16B-CE58B853D5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Weitere ausgewählte </a:t>
            </a:r>
            <a:r>
              <a:rPr lang="de-DE" dirty="0"/>
              <a:t>Forschungsinstitution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2FB5B82-54A2-4AF0-B986-BE05AC37FC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13.02.2025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D301A33-0079-48E2-A660-F66390D2D0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13123D-ADC2-423E-8E38-66EF22156AFA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70C22AC-C0DE-40C4-89AA-8A1129D0588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1838" y="773460"/>
            <a:ext cx="10728325" cy="246221"/>
          </a:xfrm>
        </p:spPr>
        <p:txBody>
          <a:bodyPr/>
          <a:lstStyle/>
          <a:p>
            <a:r>
              <a:rPr lang="de-DE"/>
              <a:t>Automobilindustrie in Thüringen</a:t>
            </a:r>
            <a:endParaRPr lang="de-DE" dirty="0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C3E1E5F-8227-47C3-B3FD-037D507ACF1C}"/>
              </a:ext>
            </a:extLst>
          </p:cNvPr>
          <p:cNvSpPr/>
          <p:nvPr/>
        </p:nvSpPr>
        <p:spPr>
          <a:xfrm>
            <a:off x="738981" y="2794006"/>
            <a:ext cx="2436242" cy="70788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200" dirty="0"/>
              <a:t>Fraunhofer-Anwendungszentrum </a:t>
            </a:r>
            <a:r>
              <a:rPr lang="de-DE" sz="1200"/>
              <a:t>für Systemtechnik</a:t>
            </a:r>
          </a:p>
          <a:p>
            <a:r>
              <a:rPr lang="de-DE" sz="1100"/>
              <a:t>u.a. Energie- und Lademanagement für elektrische Fahrzeuge</a:t>
            </a:r>
            <a:endParaRPr lang="de-DE" sz="1100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A00404A6-2E3F-450E-9261-E0A3C6B0DC18}"/>
              </a:ext>
            </a:extLst>
          </p:cNvPr>
          <p:cNvSpPr/>
          <p:nvPr/>
        </p:nvSpPr>
        <p:spPr>
          <a:xfrm>
            <a:off x="726741" y="2067035"/>
            <a:ext cx="1098058" cy="43858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/>
          <a:p>
            <a:r>
              <a:rPr lang="de-DE" b="1">
                <a:latin typeface="+mj-lt"/>
              </a:rPr>
              <a:t>IOSB - AST</a:t>
            </a:r>
            <a:endParaRPr lang="de-DE" b="1" dirty="0">
              <a:latin typeface="+mj-lt"/>
            </a:endParaRPr>
          </a:p>
          <a:p>
            <a:r>
              <a:rPr lang="de-DE" sz="1050" dirty="0"/>
              <a:t>Ilmenau</a:t>
            </a:r>
          </a:p>
        </p:txBody>
      </p:sp>
      <p:sp>
        <p:nvSpPr>
          <p:cNvPr id="18" name="Rectangle 328">
            <a:extLst>
              <a:ext uri="{FF2B5EF4-FFF2-40B4-BE49-F238E27FC236}">
                <a16:creationId xmlns:a16="http://schemas.microsoft.com/office/drawing/2014/main" id="{6DCF29DC-FD91-466F-BB20-71E120B6AC8A}"/>
              </a:ext>
            </a:extLst>
          </p:cNvPr>
          <p:cNvSpPr>
            <a:spLocks/>
          </p:cNvSpPr>
          <p:nvPr/>
        </p:nvSpPr>
        <p:spPr>
          <a:xfrm>
            <a:off x="738982" y="2540026"/>
            <a:ext cx="2436241" cy="1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9" name="Rectangle 328">
            <a:extLst>
              <a:ext uri="{FF2B5EF4-FFF2-40B4-BE49-F238E27FC236}">
                <a16:creationId xmlns:a16="http://schemas.microsoft.com/office/drawing/2014/main" id="{E145102C-9756-47D6-B150-BD752E72D3B0}"/>
              </a:ext>
            </a:extLst>
          </p:cNvPr>
          <p:cNvSpPr>
            <a:spLocks/>
          </p:cNvSpPr>
          <p:nvPr/>
        </p:nvSpPr>
        <p:spPr>
          <a:xfrm>
            <a:off x="3499223" y="2540026"/>
            <a:ext cx="2436241" cy="18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0" name="Rectangle 328">
            <a:extLst>
              <a:ext uri="{FF2B5EF4-FFF2-40B4-BE49-F238E27FC236}">
                <a16:creationId xmlns:a16="http://schemas.microsoft.com/office/drawing/2014/main" id="{7464DB3A-BFE5-4B26-9A02-F19100663430}"/>
              </a:ext>
            </a:extLst>
          </p:cNvPr>
          <p:cNvSpPr>
            <a:spLocks/>
          </p:cNvSpPr>
          <p:nvPr/>
        </p:nvSpPr>
        <p:spPr>
          <a:xfrm>
            <a:off x="6259464" y="2540026"/>
            <a:ext cx="2436241" cy="18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1" name="Rectangle 328">
            <a:extLst>
              <a:ext uri="{FF2B5EF4-FFF2-40B4-BE49-F238E27FC236}">
                <a16:creationId xmlns:a16="http://schemas.microsoft.com/office/drawing/2014/main" id="{D055D87F-093A-4C31-807D-9E8E515416CB}"/>
              </a:ext>
            </a:extLst>
          </p:cNvPr>
          <p:cNvSpPr>
            <a:spLocks/>
          </p:cNvSpPr>
          <p:nvPr/>
        </p:nvSpPr>
        <p:spPr>
          <a:xfrm>
            <a:off x="9019706" y="2559690"/>
            <a:ext cx="2436241" cy="18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62911B40-6B2D-43F9-9B80-D2288026690B}"/>
              </a:ext>
            </a:extLst>
          </p:cNvPr>
          <p:cNvSpPr/>
          <p:nvPr/>
        </p:nvSpPr>
        <p:spPr>
          <a:xfrm>
            <a:off x="3499225" y="2794006"/>
            <a:ext cx="2497921" cy="12311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200" dirty="0"/>
              <a:t>Forschungsinstitut </a:t>
            </a:r>
            <a:r>
              <a:rPr lang="de-DE" sz="1200"/>
              <a:t>für Mikro-sensorik</a:t>
            </a:r>
          </a:p>
          <a:p>
            <a:r>
              <a:rPr lang="de-DE" sz="1100"/>
              <a:t>Mikromechanischer und Mikrooptischer Sensorsysteme für Anwendungen in Mobilität, Sicherheit, Kommunikation, Energie</a:t>
            </a:r>
          </a:p>
          <a:p>
            <a:endParaRPr lang="de-DE" sz="1200" dirty="0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C6C783C9-E3F4-43B5-9240-0D819F528D4A}"/>
              </a:ext>
            </a:extLst>
          </p:cNvPr>
          <p:cNvSpPr/>
          <p:nvPr/>
        </p:nvSpPr>
        <p:spPr>
          <a:xfrm>
            <a:off x="3499223" y="2067035"/>
            <a:ext cx="346249" cy="43858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/>
          <a:p>
            <a:r>
              <a:rPr lang="de-DE" b="1" dirty="0" err="1">
                <a:latin typeface="+mj-lt"/>
              </a:rPr>
              <a:t>CiS</a:t>
            </a:r>
            <a:endParaRPr lang="de-DE" b="1" dirty="0">
              <a:latin typeface="+mj-lt"/>
            </a:endParaRPr>
          </a:p>
          <a:p>
            <a:r>
              <a:rPr lang="de-DE" sz="1050" dirty="0"/>
              <a:t>Erfurt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AB59D767-3EC6-4DB3-AA04-5082CCE61C6E}"/>
              </a:ext>
            </a:extLst>
          </p:cNvPr>
          <p:cNvSpPr/>
          <p:nvPr/>
        </p:nvSpPr>
        <p:spPr>
          <a:xfrm>
            <a:off x="6259464" y="2794006"/>
            <a:ext cx="2436241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200" dirty="0"/>
              <a:t>Institut für Mikroelektronik- und Mechatronik-Systeme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18B982BB-45E9-4574-BE46-BEB5DFE1902D}"/>
              </a:ext>
            </a:extLst>
          </p:cNvPr>
          <p:cNvSpPr/>
          <p:nvPr/>
        </p:nvSpPr>
        <p:spPr>
          <a:xfrm>
            <a:off x="6259464" y="2059341"/>
            <a:ext cx="561051" cy="446276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/>
          <a:p>
            <a:r>
              <a:rPr lang="de-DE" b="1" dirty="0">
                <a:latin typeface="+mj-lt"/>
              </a:rPr>
              <a:t>IMMS</a:t>
            </a:r>
          </a:p>
          <a:p>
            <a:r>
              <a:rPr lang="de-DE" sz="1050" dirty="0"/>
              <a:t>Ilmenau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F9ABAA17-7F7A-45E0-8253-2029B75EF6E1}"/>
              </a:ext>
            </a:extLst>
          </p:cNvPr>
          <p:cNvSpPr/>
          <p:nvPr/>
        </p:nvSpPr>
        <p:spPr>
          <a:xfrm>
            <a:off x="9019706" y="2794006"/>
            <a:ext cx="2436241" cy="101566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100" dirty="0"/>
              <a:t>Dienstleistungen in angewandter </a:t>
            </a:r>
            <a:r>
              <a:rPr lang="de-DE" sz="1100"/>
              <a:t>F&amp;E  (</a:t>
            </a:r>
            <a:r>
              <a:rPr lang="de-DE" sz="1100" dirty="0"/>
              <a:t>z.B</a:t>
            </a:r>
            <a:r>
              <a:rPr lang="de-DE" sz="1100"/>
              <a:t>. elektronische </a:t>
            </a:r>
            <a:r>
              <a:rPr lang="de-DE" sz="1100" dirty="0"/>
              <a:t>Systeme und Module, Systeme und Komponenten für elektrische und hybride Antriebe, </a:t>
            </a:r>
            <a:r>
              <a:rPr lang="de-DE" sz="1100"/>
              <a:t>innovative Energietechnik</a:t>
            </a:r>
            <a:r>
              <a:rPr lang="de-DE" sz="1100" dirty="0"/>
              <a:t>, EMC, Materialprüfung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1A2B2428-1086-4F01-A991-CC8325FC1574}"/>
              </a:ext>
            </a:extLst>
          </p:cNvPr>
          <p:cNvSpPr/>
          <p:nvPr/>
        </p:nvSpPr>
        <p:spPr>
          <a:xfrm>
            <a:off x="9019706" y="1782341"/>
            <a:ext cx="2440457" cy="723275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de-DE" b="1" dirty="0">
                <a:latin typeface="+mj-lt"/>
              </a:rPr>
              <a:t>IMG Electronic &amp; Power Systems</a:t>
            </a:r>
          </a:p>
          <a:p>
            <a:r>
              <a:rPr lang="de-DE" sz="1050" dirty="0"/>
              <a:t>Nordhausen </a:t>
            </a: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9AF4FE56-E423-433C-8A4B-F162E43875AE}"/>
              </a:ext>
            </a:extLst>
          </p:cNvPr>
          <p:cNvSpPr/>
          <p:nvPr/>
        </p:nvSpPr>
        <p:spPr>
          <a:xfrm>
            <a:off x="738981" y="5214001"/>
            <a:ext cx="2436242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100" dirty="0"/>
              <a:t>Auf 3D Design spezialisiert</a:t>
            </a:r>
            <a:r>
              <a:rPr lang="de-DE" sz="1100"/>
              <a:t>, Prototypenbau, Antriebstechnik</a:t>
            </a:r>
            <a:endParaRPr lang="de-DE" sz="1100" dirty="0"/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F21ABE31-58AA-4E3E-B73D-250A7B4BF4F6}"/>
              </a:ext>
            </a:extLst>
          </p:cNvPr>
          <p:cNvSpPr/>
          <p:nvPr/>
        </p:nvSpPr>
        <p:spPr>
          <a:xfrm>
            <a:off x="726742" y="4210031"/>
            <a:ext cx="2436242" cy="71558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de-DE" b="1" dirty="0" err="1">
                <a:latin typeface="+mj-lt"/>
              </a:rPr>
              <a:t>adapt</a:t>
            </a:r>
            <a:br>
              <a:rPr lang="de-DE" b="1" dirty="0">
                <a:latin typeface="+mj-lt"/>
              </a:rPr>
            </a:br>
            <a:r>
              <a:rPr lang="de-DE" b="1" dirty="0" err="1">
                <a:latin typeface="+mj-lt"/>
              </a:rPr>
              <a:t>engineering</a:t>
            </a:r>
            <a:r>
              <a:rPr lang="de-DE" b="1" dirty="0">
                <a:latin typeface="+mj-lt"/>
              </a:rPr>
              <a:t> </a:t>
            </a:r>
          </a:p>
          <a:p>
            <a:r>
              <a:rPr lang="de-DE" sz="1050" dirty="0"/>
              <a:t>Nordhausen</a:t>
            </a:r>
          </a:p>
        </p:txBody>
      </p:sp>
      <p:sp>
        <p:nvSpPr>
          <p:cNvPr id="45" name="Rectangle 328">
            <a:extLst>
              <a:ext uri="{FF2B5EF4-FFF2-40B4-BE49-F238E27FC236}">
                <a16:creationId xmlns:a16="http://schemas.microsoft.com/office/drawing/2014/main" id="{190943DF-894A-456F-8193-B1E4F5F8E9DB}"/>
              </a:ext>
            </a:extLst>
          </p:cNvPr>
          <p:cNvSpPr>
            <a:spLocks/>
          </p:cNvSpPr>
          <p:nvPr/>
        </p:nvSpPr>
        <p:spPr>
          <a:xfrm>
            <a:off x="738982" y="4960021"/>
            <a:ext cx="2436241" cy="18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6" name="Rectangle 328">
            <a:extLst>
              <a:ext uri="{FF2B5EF4-FFF2-40B4-BE49-F238E27FC236}">
                <a16:creationId xmlns:a16="http://schemas.microsoft.com/office/drawing/2014/main" id="{A103737C-8809-4995-8950-852429DF4D77}"/>
              </a:ext>
            </a:extLst>
          </p:cNvPr>
          <p:cNvSpPr>
            <a:spLocks/>
          </p:cNvSpPr>
          <p:nvPr/>
        </p:nvSpPr>
        <p:spPr>
          <a:xfrm>
            <a:off x="3499223" y="4960021"/>
            <a:ext cx="2436241" cy="18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7" name="Rectangle 328">
            <a:extLst>
              <a:ext uri="{FF2B5EF4-FFF2-40B4-BE49-F238E27FC236}">
                <a16:creationId xmlns:a16="http://schemas.microsoft.com/office/drawing/2014/main" id="{8E8BC944-8D18-414D-B805-B5A7B45A0CFF}"/>
              </a:ext>
            </a:extLst>
          </p:cNvPr>
          <p:cNvSpPr>
            <a:spLocks/>
          </p:cNvSpPr>
          <p:nvPr/>
        </p:nvSpPr>
        <p:spPr>
          <a:xfrm>
            <a:off x="6259464" y="4960021"/>
            <a:ext cx="2436241" cy="18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9C1C9462-42C4-4630-81C2-118EFF6EF5AA}"/>
              </a:ext>
            </a:extLst>
          </p:cNvPr>
          <p:cNvSpPr/>
          <p:nvPr/>
        </p:nvSpPr>
        <p:spPr>
          <a:xfrm>
            <a:off x="3499223" y="4487029"/>
            <a:ext cx="2433314" cy="43858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de-DE" b="1">
                <a:latin typeface="+mj-lt"/>
              </a:rPr>
              <a:t>ThIMO</a:t>
            </a:r>
            <a:endParaRPr lang="de-DE" b="1" dirty="0">
              <a:latin typeface="+mj-lt"/>
            </a:endParaRPr>
          </a:p>
          <a:p>
            <a:r>
              <a:rPr lang="de-DE" sz="1050" dirty="0"/>
              <a:t>Ilmenau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4EC045D5-4113-4A8D-B798-761775659066}"/>
              </a:ext>
            </a:extLst>
          </p:cNvPr>
          <p:cNvSpPr/>
          <p:nvPr/>
        </p:nvSpPr>
        <p:spPr>
          <a:xfrm>
            <a:off x="6259464" y="5214001"/>
            <a:ext cx="2629163" cy="13849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200" b="1"/>
              <a:t>Forschungsgebiete</a:t>
            </a:r>
            <a:r>
              <a:rPr lang="de-DE" sz="1200"/>
              <a:t> </a:t>
            </a:r>
            <a:r>
              <a:rPr lang="de-DE" sz="1100"/>
              <a:t>u.a.: Mensch-Maschine-Schnittstellen </a:t>
            </a:r>
            <a:r>
              <a:rPr lang="de-DE" sz="1100" dirty="0"/>
              <a:t>im Fahrzeug</a:t>
            </a:r>
            <a:r>
              <a:rPr lang="de-DE" sz="1100"/>
              <a:t>, Fahrerassistenzsysteme</a:t>
            </a:r>
            <a:r>
              <a:rPr lang="de-DE" sz="1100" dirty="0"/>
              <a:t>, </a:t>
            </a:r>
            <a:r>
              <a:rPr lang="de-DE" sz="1100"/>
              <a:t>alternative Antriebssysteme etc.</a:t>
            </a:r>
          </a:p>
          <a:p>
            <a:r>
              <a:rPr lang="de-DE" sz="1200" b="1"/>
              <a:t>ThEFI </a:t>
            </a:r>
            <a:r>
              <a:rPr lang="de-DE" sz="1200"/>
              <a:t>– </a:t>
            </a:r>
            <a:r>
              <a:rPr lang="de-DE" sz="1100"/>
              <a:t>Energieforschungsinstitut – interdiszipliniäre Forschung und Schnittstelle zur Industrie</a:t>
            </a:r>
          </a:p>
          <a:p>
            <a:r>
              <a:rPr lang="de-DE" sz="1100"/>
              <a:t>z.B. Antriebssystemtechnik</a:t>
            </a:r>
            <a:endParaRPr lang="de-DE" sz="1100" dirty="0"/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1B72BCBF-9BDD-4A7E-8AB3-AA8BDB8161CE}"/>
              </a:ext>
            </a:extLst>
          </p:cNvPr>
          <p:cNvSpPr/>
          <p:nvPr/>
        </p:nvSpPr>
        <p:spPr>
          <a:xfrm>
            <a:off x="6259464" y="4202336"/>
            <a:ext cx="2436241" cy="723275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de-DE" b="1" dirty="0">
                <a:latin typeface="+mj-lt"/>
              </a:rPr>
              <a:t>Technische Universität Ilmenau</a:t>
            </a:r>
          </a:p>
          <a:p>
            <a:r>
              <a:rPr lang="de-DE" sz="1050" dirty="0"/>
              <a:t>Ilmenau</a:t>
            </a:r>
          </a:p>
        </p:txBody>
      </p:sp>
      <p:sp>
        <p:nvSpPr>
          <p:cNvPr id="28" name="Rectangle 328">
            <a:extLst>
              <a:ext uri="{FF2B5EF4-FFF2-40B4-BE49-F238E27FC236}">
                <a16:creationId xmlns:a16="http://schemas.microsoft.com/office/drawing/2014/main" id="{7464DB3A-BFE5-4B26-9A02-F19100663430}"/>
              </a:ext>
            </a:extLst>
          </p:cNvPr>
          <p:cNvSpPr>
            <a:spLocks/>
          </p:cNvSpPr>
          <p:nvPr/>
        </p:nvSpPr>
        <p:spPr>
          <a:xfrm>
            <a:off x="9029017" y="4949385"/>
            <a:ext cx="2436241" cy="18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AB59D767-3EC6-4DB3-AA04-5082CCE61C6E}"/>
              </a:ext>
            </a:extLst>
          </p:cNvPr>
          <p:cNvSpPr/>
          <p:nvPr/>
        </p:nvSpPr>
        <p:spPr>
          <a:xfrm>
            <a:off x="9029017" y="5203365"/>
            <a:ext cx="2436241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100"/>
              <a:t>Forschungsprojekte insb. im Bereich Recyclingtechnik</a:t>
            </a:r>
            <a:endParaRPr lang="de-DE" sz="1100" dirty="0"/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18B982BB-45E9-4574-BE46-BEB5DFE1902D}"/>
              </a:ext>
            </a:extLst>
          </p:cNvPr>
          <p:cNvSpPr/>
          <p:nvPr/>
        </p:nvSpPr>
        <p:spPr>
          <a:xfrm>
            <a:off x="9029017" y="4476394"/>
            <a:ext cx="2594572" cy="43858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de-DE" b="1">
                <a:latin typeface="+mj-lt"/>
              </a:rPr>
              <a:t>Hochschule Nordhausen</a:t>
            </a:r>
            <a:endParaRPr lang="de-DE" b="1" dirty="0">
              <a:latin typeface="+mj-lt"/>
            </a:endParaRPr>
          </a:p>
          <a:p>
            <a:r>
              <a:rPr lang="de-DE" sz="1050"/>
              <a:t>Nordhausen</a:t>
            </a:r>
            <a:endParaRPr lang="de-DE" sz="1050" dirty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19706" y="5585121"/>
            <a:ext cx="2098714" cy="661095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3307" y="4412363"/>
            <a:ext cx="1470699" cy="566644"/>
          </a:xfrm>
          <a:prstGeom prst="rect">
            <a:avLst/>
          </a:prstGeom>
        </p:spPr>
      </p:pic>
      <p:sp>
        <p:nvSpPr>
          <p:cNvPr id="33" name="Rechteck 32">
            <a:extLst>
              <a:ext uri="{FF2B5EF4-FFF2-40B4-BE49-F238E27FC236}">
                <a16:creationId xmlns:a16="http://schemas.microsoft.com/office/drawing/2014/main" id="{9AF4FE56-E423-433C-8A4B-F162E43875AE}"/>
              </a:ext>
            </a:extLst>
          </p:cNvPr>
          <p:cNvSpPr/>
          <p:nvPr/>
        </p:nvSpPr>
        <p:spPr>
          <a:xfrm>
            <a:off x="3499222" y="5214001"/>
            <a:ext cx="2436242" cy="101566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100"/>
              <a:t>In Kooperation mit TU Ilmenau u.a. werden innovationsrelevante Lösungen in den Bereichen Antriebs-technik, Leistungselektronik, Informationstechnik und Leichtbau erarbeitet</a:t>
            </a:r>
            <a:endParaRPr lang="de-DE" sz="1100" dirty="0"/>
          </a:p>
        </p:txBody>
      </p:sp>
    </p:spTree>
    <p:extLst>
      <p:ext uri="{BB962C8B-B14F-4D97-AF65-F5344CB8AC3E}">
        <p14:creationId xmlns:p14="http://schemas.microsoft.com/office/powerpoint/2010/main" val="25183591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ingekerbter Richtungspfeil 4"/>
          <p:cNvSpPr/>
          <p:nvPr/>
        </p:nvSpPr>
        <p:spPr>
          <a:xfrm>
            <a:off x="2243526" y="1281254"/>
            <a:ext cx="1615715" cy="432000"/>
          </a:xfrm>
          <a:prstGeom prst="chevron">
            <a:avLst/>
          </a:prstGeom>
          <a:solidFill>
            <a:srgbClr val="0089C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2593686" y="1361223"/>
            <a:ext cx="9361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>
                <a:solidFill>
                  <a:prstClr val="white"/>
                </a:solidFill>
                <a:latin typeface="Arial"/>
              </a:rPr>
              <a:t>Material</a:t>
            </a:r>
          </a:p>
        </p:txBody>
      </p:sp>
      <p:sp>
        <p:nvSpPr>
          <p:cNvPr id="11" name="Eingekerbter Richtungspfeil 10"/>
          <p:cNvSpPr/>
          <p:nvPr/>
        </p:nvSpPr>
        <p:spPr>
          <a:xfrm>
            <a:off x="3729473" y="1281254"/>
            <a:ext cx="1717953" cy="432000"/>
          </a:xfrm>
          <a:prstGeom prst="chevron">
            <a:avLst/>
          </a:prstGeom>
          <a:solidFill>
            <a:srgbClr val="0089C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black"/>
              </a:solidFill>
              <a:latin typeface="Arial"/>
            </a:endParaRPr>
          </a:p>
        </p:txBody>
      </p:sp>
      <p:sp>
        <p:nvSpPr>
          <p:cNvPr id="12" name="Textfeld 11"/>
          <p:cNvSpPr txBox="1"/>
          <p:nvPr/>
        </p:nvSpPr>
        <p:spPr>
          <a:xfrm>
            <a:off x="3983607" y="1337682"/>
            <a:ext cx="13658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>
                <a:solidFill>
                  <a:prstClr val="white"/>
                </a:solidFill>
                <a:latin typeface="Arial"/>
              </a:rPr>
              <a:t>Beschichtung</a:t>
            </a:r>
          </a:p>
        </p:txBody>
      </p:sp>
      <p:sp>
        <p:nvSpPr>
          <p:cNvPr id="13" name="Eingekerbter Richtungspfeil 12"/>
          <p:cNvSpPr/>
          <p:nvPr/>
        </p:nvSpPr>
        <p:spPr>
          <a:xfrm>
            <a:off x="5334708" y="1281254"/>
            <a:ext cx="1594424" cy="432000"/>
          </a:xfrm>
          <a:prstGeom prst="chevron">
            <a:avLst/>
          </a:prstGeom>
          <a:solidFill>
            <a:srgbClr val="0089C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black"/>
              </a:solidFill>
              <a:latin typeface="Arial"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5614021" y="1236877"/>
            <a:ext cx="10081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>
                <a:solidFill>
                  <a:prstClr val="white"/>
                </a:solidFill>
                <a:latin typeface="Arial"/>
              </a:rPr>
              <a:t>Sensoren/Elektronik</a:t>
            </a:r>
          </a:p>
        </p:txBody>
      </p:sp>
      <p:sp>
        <p:nvSpPr>
          <p:cNvPr id="36" name="Eingekerbter Richtungspfeil 35"/>
          <p:cNvSpPr/>
          <p:nvPr/>
        </p:nvSpPr>
        <p:spPr>
          <a:xfrm>
            <a:off x="6822129" y="1281254"/>
            <a:ext cx="1600200" cy="432000"/>
          </a:xfrm>
          <a:prstGeom prst="chevron">
            <a:avLst/>
          </a:prstGeom>
          <a:solidFill>
            <a:srgbClr val="0089C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black"/>
              </a:solidFill>
              <a:latin typeface="Arial"/>
            </a:endParaRPr>
          </a:p>
        </p:txBody>
      </p:sp>
      <p:sp>
        <p:nvSpPr>
          <p:cNvPr id="37" name="Textfeld 36"/>
          <p:cNvSpPr txBox="1"/>
          <p:nvPr/>
        </p:nvSpPr>
        <p:spPr>
          <a:xfrm>
            <a:off x="7035568" y="1242754"/>
            <a:ext cx="122413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>
                <a:solidFill>
                  <a:prstClr val="white"/>
                </a:solidFill>
                <a:latin typeface="Arial"/>
              </a:rPr>
              <a:t>Ingenieur- dienstleister</a:t>
            </a:r>
          </a:p>
        </p:txBody>
      </p:sp>
      <p:pic>
        <p:nvPicPr>
          <p:cNvPr id="39" name="Picture 2" descr="K-UTEC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9137" y="1873874"/>
            <a:ext cx="1209056" cy="336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4" descr="VA-Q-Tec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4996" y="2257338"/>
            <a:ext cx="1394549" cy="3200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6" descr="Talga Resources Logo">
            <a:hlinkClick r:id="rId5"/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2515" y="2688719"/>
            <a:ext cx="570629" cy="447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9464" y="3783288"/>
            <a:ext cx="537064" cy="439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" name="Picture 9" descr="GRAFE Logo">
            <a:hlinkClick r:id="rId8"/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1924" y="3270890"/>
            <a:ext cx="506719" cy="405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10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9083" y="5314582"/>
            <a:ext cx="1512168" cy="4200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" name="Picture 16" descr="CEEC Logo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9080" y="5606096"/>
            <a:ext cx="967642" cy="529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17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3298" y="6154255"/>
            <a:ext cx="1013385" cy="390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5" name="Picture 3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50434" y="5340980"/>
            <a:ext cx="1693547" cy="4342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" name="Picture 19" descr="Pades Partikeldesign Thüringen">
            <a:hlinkClick r:id="rId14"/>
          </p:cNvPr>
          <p:cNvPicPr>
            <a:picLocks noChangeAspect="1" noChangeArrowheads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132"/>
          <a:stretch/>
        </p:blipFill>
        <p:spPr bwMode="auto">
          <a:xfrm>
            <a:off x="3298662" y="5952859"/>
            <a:ext cx="1216466" cy="800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9" name="Picture 7" descr="https://encrypted-tbn3.gstatic.com/images?q=tbn:ANd9GcSc6Mn32H9OAOH4jv94s1xLJEuIX12LwRsCPpqHO_NkO0ldyroCitjpf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64776" y="5743768"/>
            <a:ext cx="1081087" cy="361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21" name="Picture 9" descr="Duale Hochschule Gera-Eisenach"/>
          <p:cNvPicPr>
            <a:picLocks noChangeAspect="1" noChangeArrowheads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3183"/>
          <a:stretch/>
        </p:blipFill>
        <p:spPr bwMode="auto">
          <a:xfrm>
            <a:off x="10073870" y="6082111"/>
            <a:ext cx="1059086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24" name="Picture 12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6774" y="1852769"/>
            <a:ext cx="1398291" cy="3254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26" name="Picture 14" descr="http://www.got-jena.com/images/got-jena/header/Vorstellungskraft.jpg"/>
          <p:cNvPicPr>
            <a:picLocks noChangeAspect="1" noChangeArrowheads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79" t="24495" r="48692" b="51879"/>
          <a:stretch/>
        </p:blipFill>
        <p:spPr bwMode="auto">
          <a:xfrm>
            <a:off x="3734977" y="2217358"/>
            <a:ext cx="1695973" cy="274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28" name="Picture 16" descr="http://www.muschert-gierse.de/images/MG_Logo_k1.gif"/>
          <p:cNvPicPr>
            <a:picLocks noChangeAspect="1" noChangeArrowheads="1"/>
          </p:cNvPicPr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463" b="11639"/>
          <a:stretch/>
        </p:blipFill>
        <p:spPr bwMode="auto">
          <a:xfrm>
            <a:off x="3950023" y="2571573"/>
            <a:ext cx="1002262" cy="561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30" name="Picture 18" descr="INNOVENT - Technologieentwicklung Jena">
            <a:hlinkClick r:id="rId21" tooltip="INNOVENT - Technologieentwicklung Jena"/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8740" y="3195891"/>
            <a:ext cx="1287112" cy="480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31" name="Picture 19"/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8529" y="3538679"/>
            <a:ext cx="1186596" cy="5213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33" name="Picture 21" descr="Logo"/>
          <p:cNvPicPr>
            <a:picLocks noChangeAspect="1" noChangeArrowheads="1"/>
          </p:cNvPicPr>
          <p:nvPr/>
        </p:nvPicPr>
        <p:blipFill rotWithShape="1"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402"/>
          <a:stretch/>
        </p:blipFill>
        <p:spPr bwMode="auto">
          <a:xfrm>
            <a:off x="3715773" y="4102396"/>
            <a:ext cx="1559534" cy="303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13"/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9354" y="5173851"/>
            <a:ext cx="2099178" cy="1726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2" name="Picture 14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8474" y="5394576"/>
            <a:ext cx="629791" cy="660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3" name="Picture 17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3377" y="6086430"/>
            <a:ext cx="1013385" cy="390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35" name="Picture 23" descr="GÖPEL electronic GmbH - Enjoy Testing!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6369" y="1842674"/>
            <a:ext cx="1247583" cy="483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37" name="Picture 25" descr="HASEC Logo"/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6846" y="2430473"/>
            <a:ext cx="1008113" cy="432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38" name="Picture 26"/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5127" y="2941409"/>
            <a:ext cx="517629" cy="405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40" name="Picture 28" descr="SIEGERT electronic (de)">
            <a:hlinkClick r:id="rId30" tooltip="SIEGERT electronic (de)"/>
          </p:cNvPr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6156" y="3445464"/>
            <a:ext cx="1387119" cy="252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42" name="Picture 30" descr="UST Logo">
            <a:hlinkClick r:id="rId32"/>
          </p:cNvPr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6155" y="3756077"/>
            <a:ext cx="1206661" cy="3792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44" name="Picture 32" descr="wachstumskern_basis"/>
          <p:cNvPicPr>
            <a:picLocks noChangeAspect="1" noChangeArrowheads="1"/>
          </p:cNvPicPr>
          <p:nvPr/>
        </p:nvPicPr>
        <p:blipFill rotWithShape="1"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1495" b="29155"/>
          <a:stretch/>
        </p:blipFill>
        <p:spPr bwMode="auto">
          <a:xfrm>
            <a:off x="5851897" y="6030280"/>
            <a:ext cx="981297" cy="541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hteck 2"/>
          <p:cNvSpPr/>
          <p:nvPr/>
        </p:nvSpPr>
        <p:spPr>
          <a:xfrm>
            <a:off x="5907889" y="5667491"/>
            <a:ext cx="98877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b="1">
                <a:solidFill>
                  <a:prstClr val="black"/>
                </a:solidFill>
                <a:latin typeface="Arial"/>
              </a:rPr>
              <a:t>HIPS</a:t>
            </a:r>
            <a:endParaRPr lang="de-DE">
              <a:solidFill>
                <a:prstClr val="black"/>
              </a:solidFill>
              <a:latin typeface="Arial"/>
            </a:endParaRPr>
          </a:p>
        </p:txBody>
      </p:sp>
      <p:pic>
        <p:nvPicPr>
          <p:cNvPr id="81" name="Picture 5" descr="http://www.3d-sensation.de/content/dam/3dsensation/LOGO3D.jpg"/>
          <p:cNvPicPr>
            <a:picLocks noChangeAspect="1" noChangeArrowheads="1"/>
          </p:cNvPicPr>
          <p:nvPr/>
        </p:nvPicPr>
        <p:blipFill rotWithShape="1"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090"/>
          <a:stretch/>
        </p:blipFill>
        <p:spPr bwMode="auto">
          <a:xfrm>
            <a:off x="5376873" y="5235479"/>
            <a:ext cx="1949575" cy="4567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" name="Picture 29" descr="https://www.epc.com/typo3conf/ext/bootstrap_package/Resources/Public/Images/logo.png">
            <a:hlinkClick r:id="rId36"/>
          </p:cNvPr>
          <p:cNvPicPr>
            <a:picLocks noChangeAspect="1" noChangeArrowheads="1"/>
          </p:cNvPicPr>
          <p:nvPr/>
        </p:nvPicPr>
        <p:blipFill rotWithShape="1"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4044"/>
          <a:stretch/>
        </p:blipFill>
        <p:spPr bwMode="auto">
          <a:xfrm>
            <a:off x="7291041" y="2682534"/>
            <a:ext cx="1043146" cy="3820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46" name="Picture 34" descr="EDAG"/>
          <p:cNvPicPr>
            <a:picLocks noChangeAspect="1" noChangeArrowheads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3937" y="1885571"/>
            <a:ext cx="1600200" cy="400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48" name="Picture 36" descr="logo-voith"/>
          <p:cNvPicPr>
            <a:picLocks noChangeAspect="1" noChangeArrowheads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1100" y="2304233"/>
            <a:ext cx="1285875" cy="295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49" name="Picture 37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2013" y="3081455"/>
            <a:ext cx="692087" cy="6248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51" name="Picture 39"/>
          <p:cNvPicPr>
            <a:picLocks noChangeAspect="1" noChangeArrowheads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8816" y="3721188"/>
            <a:ext cx="951822" cy="304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53" name="Picture 41" descr="http://www.isle-ilmenau.de/sitepics/isle_logo-index.png"/>
          <p:cNvPicPr>
            <a:picLocks noChangeAspect="1" noChangeArrowheads="1"/>
          </p:cNvPicPr>
          <p:nvPr/>
        </p:nvPicPr>
        <p:blipFill rotWithShape="1"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000" r="89910" b="5161"/>
          <a:stretch/>
        </p:blipFill>
        <p:spPr bwMode="auto">
          <a:xfrm>
            <a:off x="7593975" y="3974172"/>
            <a:ext cx="482046" cy="3635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55" name="Picture 43" descr="http://www.ce-sys-group.de/engineering"/>
          <p:cNvPicPr>
            <a:picLocks noChangeAspect="1" noChangeArrowheads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7527" y="4394918"/>
            <a:ext cx="9144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8" name="Titel 1">
            <a:extLst>
              <a:ext uri="{FF2B5EF4-FFF2-40B4-BE49-F238E27FC236}">
                <a16:creationId xmlns:a16="http://schemas.microsoft.com/office/drawing/2014/main" id="{D143D10C-D9B7-4C07-B16B-CE58B853D5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7124" y="212573"/>
            <a:ext cx="10728325" cy="523220"/>
          </a:xfrm>
        </p:spPr>
        <p:txBody>
          <a:bodyPr/>
          <a:lstStyle/>
          <a:p>
            <a:r>
              <a:rPr lang="de-DE"/>
              <a:t>Wertschöpfungskette Batterieproduktion in Thüringen</a:t>
            </a:r>
            <a:endParaRPr lang="de-DE" dirty="0"/>
          </a:p>
        </p:txBody>
      </p:sp>
      <p:pic>
        <p:nvPicPr>
          <p:cNvPr id="67" name="Picture 21"/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1158" y="2943414"/>
            <a:ext cx="711189" cy="325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8966" y="1973099"/>
            <a:ext cx="1590675" cy="323850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4303" y="3259230"/>
            <a:ext cx="1051560" cy="525780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355" y="2469912"/>
            <a:ext cx="768339" cy="555882"/>
          </a:xfrm>
          <a:prstGeom prst="rect">
            <a:avLst/>
          </a:prstGeom>
        </p:spPr>
      </p:pic>
      <p:pic>
        <p:nvPicPr>
          <p:cNvPr id="19" name="Grafik 18"/>
          <p:cNvPicPr>
            <a:picLocks noChangeAspect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7589" y="4398346"/>
            <a:ext cx="1377003" cy="791777"/>
          </a:xfrm>
          <a:prstGeom prst="rect">
            <a:avLst/>
          </a:prstGeom>
        </p:spPr>
      </p:pic>
      <p:sp>
        <p:nvSpPr>
          <p:cNvPr id="76" name="Eingekerbter Richtungspfeil 35"/>
          <p:cNvSpPr/>
          <p:nvPr/>
        </p:nvSpPr>
        <p:spPr>
          <a:xfrm>
            <a:off x="9771943" y="1271672"/>
            <a:ext cx="1600200" cy="432000"/>
          </a:xfrm>
          <a:prstGeom prst="chevron">
            <a:avLst/>
          </a:prstGeom>
          <a:solidFill>
            <a:srgbClr val="0089C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black"/>
              </a:solidFill>
              <a:latin typeface="Arial"/>
            </a:endParaRPr>
          </a:p>
        </p:txBody>
      </p:sp>
      <p:sp>
        <p:nvSpPr>
          <p:cNvPr id="77" name="Textfeld 76"/>
          <p:cNvSpPr txBox="1"/>
          <p:nvPr/>
        </p:nvSpPr>
        <p:spPr>
          <a:xfrm>
            <a:off x="9989373" y="1233172"/>
            <a:ext cx="122413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>
                <a:solidFill>
                  <a:prstClr val="white"/>
                </a:solidFill>
                <a:latin typeface="Arial"/>
              </a:rPr>
              <a:t>Weitere Dienstleister</a:t>
            </a:r>
          </a:p>
        </p:txBody>
      </p:sp>
      <p:sp>
        <p:nvSpPr>
          <p:cNvPr id="89" name="Eingekerbter Richtungspfeil 4"/>
          <p:cNvSpPr/>
          <p:nvPr/>
        </p:nvSpPr>
        <p:spPr>
          <a:xfrm rot="16200000">
            <a:off x="-326050" y="5407948"/>
            <a:ext cx="1615715" cy="504056"/>
          </a:xfrm>
          <a:prstGeom prst="chevron">
            <a:avLst/>
          </a:prstGeom>
          <a:solidFill>
            <a:srgbClr val="0089C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black"/>
              </a:solidFill>
              <a:latin typeface="Arial"/>
            </a:endParaRPr>
          </a:p>
        </p:txBody>
      </p:sp>
      <p:sp>
        <p:nvSpPr>
          <p:cNvPr id="90" name="Textfeld 89"/>
          <p:cNvSpPr txBox="1"/>
          <p:nvPr/>
        </p:nvSpPr>
        <p:spPr>
          <a:xfrm>
            <a:off x="205460" y="5479466"/>
            <a:ext cx="6272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>
                <a:solidFill>
                  <a:prstClr val="white"/>
                </a:solidFill>
                <a:latin typeface="Arial"/>
              </a:rPr>
              <a:t>F&amp;E</a:t>
            </a:r>
          </a:p>
        </p:txBody>
      </p:sp>
      <p:pic>
        <p:nvPicPr>
          <p:cNvPr id="92" name="Picture 18" descr="Bildergebnis für bosch logo">
            <a:extLst>
              <a:ext uri="{FF2B5EF4-FFF2-40B4-BE49-F238E27FC236}">
                <a16:creationId xmlns:a16="http://schemas.microsoft.com/office/drawing/2014/main" id="{41FB204B-5D81-43D3-B230-31E8A85BFE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60" t="27657" r="8421" b="27105"/>
          <a:stretch/>
        </p:blipFill>
        <p:spPr bwMode="auto">
          <a:xfrm>
            <a:off x="5466867" y="4165846"/>
            <a:ext cx="1599918" cy="3622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3" name="Picture 2" descr="Logo IMG Electronic &amp; Power Systems GmbH"/>
          <p:cNvPicPr>
            <a:picLocks noChangeAspect="1" noChangeArrowheads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8875" y="5447528"/>
            <a:ext cx="699509" cy="329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4" name="Eingekerbter Richtungspfeil 35"/>
          <p:cNvSpPr/>
          <p:nvPr/>
        </p:nvSpPr>
        <p:spPr>
          <a:xfrm>
            <a:off x="8298208" y="1275728"/>
            <a:ext cx="1600200" cy="432000"/>
          </a:xfrm>
          <a:prstGeom prst="chevron">
            <a:avLst/>
          </a:prstGeom>
          <a:solidFill>
            <a:srgbClr val="0089C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black"/>
              </a:solidFill>
              <a:latin typeface="Arial"/>
            </a:endParaRPr>
          </a:p>
        </p:txBody>
      </p:sp>
      <p:sp>
        <p:nvSpPr>
          <p:cNvPr id="95" name="Textfeld 94"/>
          <p:cNvSpPr txBox="1"/>
          <p:nvPr/>
        </p:nvSpPr>
        <p:spPr>
          <a:xfrm>
            <a:off x="8519429" y="1243348"/>
            <a:ext cx="122413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>
                <a:solidFill>
                  <a:prstClr val="white"/>
                </a:solidFill>
                <a:latin typeface="Arial"/>
              </a:rPr>
              <a:t>Batterie-produktion</a:t>
            </a:r>
          </a:p>
        </p:txBody>
      </p:sp>
      <p:pic>
        <p:nvPicPr>
          <p:cNvPr id="100" name="Grafik 99"/>
          <p:cNvPicPr>
            <a:picLocks noChangeAspect="1"/>
          </p:cNvPicPr>
          <p:nvPr/>
        </p:nvPicPr>
        <p:blipFill>
          <a:blip r:embed="rId51"/>
          <a:stretch>
            <a:fillRect/>
          </a:stretch>
        </p:blipFill>
        <p:spPr>
          <a:xfrm>
            <a:off x="8628260" y="2327626"/>
            <a:ext cx="1401556" cy="327567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1417" y="5353755"/>
            <a:ext cx="952500" cy="485775"/>
          </a:xfrm>
          <a:prstGeom prst="rect">
            <a:avLst/>
          </a:prstGeom>
        </p:spPr>
      </p:pic>
      <p:pic>
        <p:nvPicPr>
          <p:cNvPr id="101" name="Grafik 100"/>
          <p:cNvPicPr>
            <a:picLocks noChangeAspect="1"/>
          </p:cNvPicPr>
          <p:nvPr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7480" y="4966798"/>
            <a:ext cx="1159454" cy="365228"/>
          </a:xfrm>
          <a:prstGeom prst="rect">
            <a:avLst/>
          </a:prstGeom>
        </p:spPr>
      </p:pic>
      <p:pic>
        <p:nvPicPr>
          <p:cNvPr id="102" name="Picture 30"/>
          <p:cNvPicPr>
            <a:picLocks noChangeAspect="1" noChangeArrowheads="1"/>
          </p:cNvPicPr>
          <p:nvPr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5255" y="3772761"/>
            <a:ext cx="1239825" cy="4098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4" name="Eingekerbter Richtungspfeil 6"/>
          <p:cNvSpPr/>
          <p:nvPr/>
        </p:nvSpPr>
        <p:spPr>
          <a:xfrm>
            <a:off x="757118" y="1281254"/>
            <a:ext cx="1618821" cy="432000"/>
          </a:xfrm>
          <a:prstGeom prst="chevron">
            <a:avLst/>
          </a:prstGeom>
          <a:solidFill>
            <a:srgbClr val="0089C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black"/>
              </a:solidFill>
              <a:latin typeface="Arial"/>
            </a:endParaRPr>
          </a:p>
        </p:txBody>
      </p:sp>
      <p:sp>
        <p:nvSpPr>
          <p:cNvPr id="75" name="Textfeld 74"/>
          <p:cNvSpPr txBox="1"/>
          <p:nvPr/>
        </p:nvSpPr>
        <p:spPr>
          <a:xfrm>
            <a:off x="817639" y="1251287"/>
            <a:ext cx="151216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>
                <a:solidFill>
                  <a:prstClr val="white"/>
                </a:solidFill>
                <a:latin typeface="Arial"/>
              </a:rPr>
              <a:t>Fabrikplanung/-ausrüstung</a:t>
            </a:r>
          </a:p>
        </p:txBody>
      </p:sp>
      <p:pic>
        <p:nvPicPr>
          <p:cNvPr id="91" name="Picture 23" descr="https://lh3.googleusercontent.com/-uG6gN9x7YnA/VNrvorfgbmI/AAAAAAAAAB4/K5xhai8ffKosrzJl3qL19JdELGGce6c1QCJkC/w160-h160-k-no/"/>
          <p:cNvPicPr>
            <a:picLocks noChangeAspect="1" noChangeArrowheads="1"/>
          </p:cNvPicPr>
          <p:nvPr/>
        </p:nvPicPr>
        <p:blipFill rotWithShape="1">
          <a:blip r:embed="rId5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619" b="35978"/>
          <a:stretch/>
        </p:blipFill>
        <p:spPr bwMode="auto">
          <a:xfrm>
            <a:off x="641789" y="1745248"/>
            <a:ext cx="1319771" cy="533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6" name="Picture 25" descr="home&amp;nbsp;- GLATT">
            <a:hlinkClick r:id="rId56"/>
          </p:cNvPr>
          <p:cNvPicPr>
            <a:picLocks noChangeAspect="1" noChangeArrowheads="1"/>
          </p:cNvPicPr>
          <p:nvPr/>
        </p:nvPicPr>
        <p:blipFill>
          <a:blip r:embed="rId5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091" y="2340016"/>
            <a:ext cx="873566" cy="454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" name="Picture 29" descr="https://www.epc.com/typo3conf/ext/bootstrap_package/Resources/Public/Images/logo.png">
            <a:hlinkClick r:id="rId36"/>
          </p:cNvPr>
          <p:cNvPicPr>
            <a:picLocks noChangeAspect="1" noChangeArrowheads="1"/>
          </p:cNvPicPr>
          <p:nvPr/>
        </p:nvPicPr>
        <p:blipFill rotWithShape="1"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4044"/>
          <a:stretch/>
        </p:blipFill>
        <p:spPr bwMode="auto">
          <a:xfrm>
            <a:off x="801268" y="2855453"/>
            <a:ext cx="1043146" cy="3820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9" name="Picture 31"/>
          <p:cNvPicPr>
            <a:picLocks noChangeAspect="1" noChangeArrowheads="1"/>
          </p:cNvPicPr>
          <p:nvPr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659" y="3337651"/>
            <a:ext cx="1435172" cy="3428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" name="Picture 33" descr="Logo"/>
          <p:cNvPicPr>
            <a:picLocks noChangeAspect="1" noChangeArrowheads="1"/>
          </p:cNvPicPr>
          <p:nvPr/>
        </p:nvPicPr>
        <p:blipFill>
          <a:blip r:embed="rId5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5130" y="5338803"/>
            <a:ext cx="1230710" cy="4933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" name="Picture 35" descr="http://www.fermeth.de/www/ddk/gfe/fermeth/webinfo.nsf/RA/logo_fermeth/$FILE/logo_fermeth.gif">
            <a:hlinkClick r:id="rId60"/>
          </p:cNvPr>
          <p:cNvPicPr>
            <a:picLocks noChangeAspect="1" noChangeArrowheads="1"/>
          </p:cNvPicPr>
          <p:nvPr/>
        </p:nvPicPr>
        <p:blipFill>
          <a:blip r:embed="rId6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795" y="5870764"/>
            <a:ext cx="804158" cy="505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6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5542" y="3487685"/>
            <a:ext cx="1429241" cy="461045"/>
          </a:xfrm>
          <a:prstGeom prst="rect">
            <a:avLst/>
          </a:prstGeom>
        </p:spPr>
      </p:pic>
      <p:sp>
        <p:nvSpPr>
          <p:cNvPr id="106" name="Foliennummernplatzhalter 4"/>
          <p:cNvSpPr>
            <a:spLocks noGrp="1"/>
          </p:cNvSpPr>
          <p:nvPr>
            <p:ph type="sldNum" sz="quarter" idx="4294967295"/>
          </p:nvPr>
        </p:nvSpPr>
        <p:spPr>
          <a:xfrm>
            <a:off x="11200476" y="6568973"/>
            <a:ext cx="259687" cy="153888"/>
          </a:xfrm>
          <a:prstGeom prst="rect">
            <a:avLst/>
          </a:prstGeom>
        </p:spPr>
        <p:txBody>
          <a:bodyPr lIns="0" tIns="0" rIns="0" bIns="0"/>
          <a:lstStyle/>
          <a:p>
            <a:fld id="{1213123D-ADC2-423E-8E38-66EF22156AFA}" type="slidenum">
              <a:rPr lang="de-DE" sz="1000" smtClean="0"/>
              <a:pPr/>
              <a:t>13</a:t>
            </a:fld>
            <a:endParaRPr lang="de-DE" sz="1000" dirty="0"/>
          </a:p>
        </p:txBody>
      </p:sp>
      <p:pic>
        <p:nvPicPr>
          <p:cNvPr id="78" name="Picture 18" descr="Bildergebnis für bosch logo">
            <a:extLst>
              <a:ext uri="{FF2B5EF4-FFF2-40B4-BE49-F238E27FC236}">
                <a16:creationId xmlns:a16="http://schemas.microsoft.com/office/drawing/2014/main" id="{41FB204B-5D81-43D3-B230-31E8A85BFE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60" t="27657" r="8421" b="27105"/>
          <a:stretch/>
        </p:blipFill>
        <p:spPr bwMode="auto">
          <a:xfrm>
            <a:off x="8543708" y="4048302"/>
            <a:ext cx="1445665" cy="327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7618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de-DE" sz="340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ochqualifizierte Fachkräft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13.02.2025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Fachkräfte – Ausbildung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13123D-ADC2-423E-8E38-66EF22156AFA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Berufliche Ausbildungsabschlüsse der Thüringer ab 15 Jahre</a:t>
            </a:r>
          </a:p>
        </p:txBody>
      </p:sp>
      <p:pic>
        <p:nvPicPr>
          <p:cNvPr id="11" name="Bildplatzhalter 10"/>
          <p:cNvPicPr>
            <a:picLocks noGrp="1" noChangeAspect="1"/>
          </p:cNvPicPr>
          <p:nvPr>
            <p:ph type="pic" sz="quarter" idx="14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608" b="6608"/>
          <a:stretch>
            <a:fillRect/>
          </a:stretch>
        </p:blipFill>
        <p:spPr/>
      </p:pic>
      <p:sp>
        <p:nvSpPr>
          <p:cNvPr id="12" name="Rechteck 11"/>
          <p:cNvSpPr/>
          <p:nvPr/>
        </p:nvSpPr>
        <p:spPr>
          <a:xfrm>
            <a:off x="731838" y="6302131"/>
            <a:ext cx="10728325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r>
              <a:rPr lang="de-DE" sz="1000" dirty="0"/>
              <a:t>Quelle: Thüringer Landesamtes für Statistik (TLS) und eigene Berechnungen, Mai 2018</a:t>
            </a:r>
          </a:p>
        </p:txBody>
      </p:sp>
      <p:graphicFrame>
        <p:nvGraphicFramePr>
          <p:cNvPr id="15" name="Diagramm 14"/>
          <p:cNvGraphicFramePr/>
          <p:nvPr/>
        </p:nvGraphicFramePr>
        <p:xfrm>
          <a:off x="7549881" y="1773238"/>
          <a:ext cx="3887788" cy="43560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7" name="Textfeld 16"/>
          <p:cNvSpPr txBox="1"/>
          <p:nvPr/>
        </p:nvSpPr>
        <p:spPr>
          <a:xfrm>
            <a:off x="9964850" y="5461675"/>
            <a:ext cx="1032334" cy="215444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de-DE" sz="1400" dirty="0"/>
              <a:t>Facharbeiter</a:t>
            </a:r>
          </a:p>
        </p:txBody>
      </p:sp>
      <p:sp>
        <p:nvSpPr>
          <p:cNvPr id="19" name="Textfeld 18"/>
          <p:cNvSpPr txBox="1"/>
          <p:nvPr/>
        </p:nvSpPr>
        <p:spPr>
          <a:xfrm>
            <a:off x="10629883" y="2868492"/>
            <a:ext cx="580287" cy="215444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de-DE" sz="1400" dirty="0"/>
              <a:t>Andere</a:t>
            </a:r>
          </a:p>
        </p:txBody>
      </p:sp>
      <p:sp>
        <p:nvSpPr>
          <p:cNvPr id="22" name="Textfeld 21"/>
          <p:cNvSpPr txBox="1"/>
          <p:nvPr/>
        </p:nvSpPr>
        <p:spPr>
          <a:xfrm>
            <a:off x="9815299" y="2202739"/>
            <a:ext cx="1412246" cy="43088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de-DE" sz="1400" dirty="0"/>
              <a:t>Universitäts- und</a:t>
            </a:r>
            <a:br>
              <a:rPr lang="de-DE" sz="1400" dirty="0"/>
            </a:br>
            <a:r>
              <a:rPr lang="de-DE" sz="1400" dirty="0"/>
              <a:t>FH-Abschluss</a:t>
            </a:r>
          </a:p>
        </p:txBody>
      </p:sp>
      <p:sp>
        <p:nvSpPr>
          <p:cNvPr id="23" name="Textfeld 22"/>
          <p:cNvSpPr txBox="1"/>
          <p:nvPr/>
        </p:nvSpPr>
        <p:spPr>
          <a:xfrm>
            <a:off x="7007992" y="2310461"/>
            <a:ext cx="1705260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de-DE" sz="1400"/>
              <a:t>Techniker, Meister, Fachschule</a:t>
            </a:r>
            <a:endParaRPr lang="de-DE" sz="1400" dirty="0"/>
          </a:p>
        </p:txBody>
      </p:sp>
      <p:sp>
        <p:nvSpPr>
          <p:cNvPr id="7" name="btfpLayoutConfig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de-DE" sz="100">
                <a:solidFill>
                  <a:srgbClr val="FFFFFF">
                    <a:alpha val="0"/>
                  </a:srgbClr>
                </a:solidFill>
              </a:rPr>
              <a:t>overall_1_132077574752823649 columns_1_132077574752823649 </a:t>
            </a:r>
          </a:p>
        </p:txBody>
      </p:sp>
    </p:spTree>
    <p:extLst>
      <p:ext uri="{BB962C8B-B14F-4D97-AF65-F5344CB8AC3E}">
        <p14:creationId xmlns:p14="http://schemas.microsoft.com/office/powerpoint/2010/main" val="404032977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2A74BC-FAB5-853E-3216-82F7EAC799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F86167AF-68E2-C619-28E6-2EC817851A26}"/>
              </a:ext>
            </a:extLst>
          </p:cNvPr>
          <p:cNvSpPr/>
          <p:nvPr/>
        </p:nvSpPr>
        <p:spPr>
          <a:xfrm>
            <a:off x="0" y="6189785"/>
            <a:ext cx="12192000" cy="668215"/>
          </a:xfrm>
          <a:prstGeom prst="rect">
            <a:avLst/>
          </a:prstGeom>
          <a:gradFill flip="none" rotWithShape="1">
            <a:gsLst>
              <a:gs pos="0">
                <a:srgbClr val="3C67AF"/>
              </a:gs>
              <a:gs pos="75000">
                <a:srgbClr val="B15EA1"/>
              </a:gs>
              <a:gs pos="100000">
                <a:srgbClr val="B15EA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C6621AB6-9E8E-9966-C291-635C016564C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8439" y="-265554"/>
            <a:ext cx="4318492" cy="1926966"/>
          </a:xfrm>
          <a:prstGeom prst="rect">
            <a:avLst/>
          </a:prstGeom>
        </p:spPr>
      </p:pic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D735B134-6B6A-9624-B8C1-4CC330B7C45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96388" y="1381622"/>
            <a:ext cx="10874829" cy="452731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sz="1400" dirty="0">
                <a:sym typeface="Wingdings" panose="05000000000000000000" pitchFamily="2" charset="2"/>
              </a:rPr>
              <a:t> </a:t>
            </a:r>
            <a:endParaRPr lang="de-DE" sz="1400" dirty="0"/>
          </a:p>
          <a:p>
            <a:pPr lvl="1"/>
            <a:endParaRPr lang="de-DE" sz="1400" dirty="0"/>
          </a:p>
          <a:p>
            <a:endParaRPr lang="de-DE" sz="1400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543B1A07-4BBA-9B4B-6A38-BAF761043674}"/>
              </a:ext>
            </a:extLst>
          </p:cNvPr>
          <p:cNvGrpSpPr/>
          <p:nvPr/>
        </p:nvGrpSpPr>
        <p:grpSpPr>
          <a:xfrm>
            <a:off x="700724" y="584618"/>
            <a:ext cx="2753035" cy="2438930"/>
            <a:chOff x="1258813" y="251477"/>
            <a:chExt cx="1910349" cy="1910348"/>
          </a:xfrm>
        </p:grpSpPr>
        <p:sp>
          <p:nvSpPr>
            <p:cNvPr id="33" name="Teilkreis 32">
              <a:extLst>
                <a:ext uri="{FF2B5EF4-FFF2-40B4-BE49-F238E27FC236}">
                  <a16:creationId xmlns:a16="http://schemas.microsoft.com/office/drawing/2014/main" id="{2514F0BB-6A03-DBCA-7C3A-88535EEA046A}"/>
                </a:ext>
              </a:extLst>
            </p:cNvPr>
            <p:cNvSpPr/>
            <p:nvPr/>
          </p:nvSpPr>
          <p:spPr>
            <a:xfrm>
              <a:off x="1258814" y="251477"/>
              <a:ext cx="1910348" cy="1910348"/>
            </a:xfrm>
            <a:prstGeom prst="pieWedge">
              <a:avLst/>
            </a:prstGeom>
            <a:gradFill rotWithShape="0">
              <a:gsLst>
                <a:gs pos="0">
                  <a:srgbClr val="3C67AF"/>
                </a:gs>
                <a:gs pos="90000">
                  <a:srgbClr val="B15EA1"/>
                </a:gs>
                <a:gs pos="100000">
                  <a:srgbClr val="B15EA1"/>
                </a:gs>
              </a:gsLst>
              <a:path path="circle">
                <a:fillToRect l="100000" t="100000"/>
              </a:path>
            </a:gra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34" name="Teilkreis 4">
              <a:extLst>
                <a:ext uri="{FF2B5EF4-FFF2-40B4-BE49-F238E27FC236}">
                  <a16:creationId xmlns:a16="http://schemas.microsoft.com/office/drawing/2014/main" id="{7CA8EA1B-D4B0-DB1A-5134-15CEF9155B6F}"/>
                </a:ext>
              </a:extLst>
            </p:cNvPr>
            <p:cNvSpPr txBox="1"/>
            <p:nvPr/>
          </p:nvSpPr>
          <p:spPr>
            <a:xfrm>
              <a:off x="1258813" y="1427425"/>
              <a:ext cx="1910349" cy="7344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42240" tIns="142240" rIns="142240" bIns="142240" numCol="1" spcCol="1270" anchor="ctr" anchorCtr="0">
              <a:noAutofit/>
            </a:bodyPr>
            <a:lstStyle/>
            <a:p>
              <a:pPr marL="0" lvl="0" indent="0" algn="ctr" defTabSz="889000">
                <a:spcBef>
                  <a:spcPct val="0"/>
                </a:spcBef>
                <a:buNone/>
              </a:pPr>
              <a:r>
                <a:rPr lang="de-DE" sz="2200" kern="1200" dirty="0"/>
                <a:t>Praxisraum</a:t>
              </a:r>
            </a:p>
          </p:txBody>
        </p: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6F740E40-8905-504B-4736-D8F1EF93379D}"/>
              </a:ext>
            </a:extLst>
          </p:cNvPr>
          <p:cNvGrpSpPr/>
          <p:nvPr/>
        </p:nvGrpSpPr>
        <p:grpSpPr>
          <a:xfrm>
            <a:off x="3582713" y="577270"/>
            <a:ext cx="2659599" cy="2438930"/>
            <a:chOff x="3213281" y="251477"/>
            <a:chExt cx="1954467" cy="1910351"/>
          </a:xfrm>
        </p:grpSpPr>
        <p:sp>
          <p:nvSpPr>
            <p:cNvPr id="31" name="Teilkreis 30">
              <a:extLst>
                <a:ext uri="{FF2B5EF4-FFF2-40B4-BE49-F238E27FC236}">
                  <a16:creationId xmlns:a16="http://schemas.microsoft.com/office/drawing/2014/main" id="{9F2EA068-446C-01F6-8C10-8A1F60D3961E}"/>
                </a:ext>
              </a:extLst>
            </p:cNvPr>
            <p:cNvSpPr/>
            <p:nvPr/>
          </p:nvSpPr>
          <p:spPr>
            <a:xfrm rot="5400000">
              <a:off x="3257400" y="251477"/>
              <a:ext cx="1910348" cy="1910348"/>
            </a:xfrm>
            <a:prstGeom prst="pieWedge">
              <a:avLst/>
            </a:prstGeom>
            <a:gradFill rotWithShape="0">
              <a:gsLst>
                <a:gs pos="0">
                  <a:srgbClr val="3C67AF"/>
                </a:gs>
                <a:gs pos="90000">
                  <a:srgbClr val="B15EA1"/>
                </a:gs>
                <a:gs pos="100000">
                  <a:srgbClr val="B15EA1"/>
                </a:gs>
              </a:gsLst>
              <a:path path="circle">
                <a:fillToRect l="100000" t="100000"/>
              </a:path>
            </a:gra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de-DE" dirty="0"/>
            </a:p>
          </p:txBody>
        </p:sp>
        <p:sp>
          <p:nvSpPr>
            <p:cNvPr id="32" name="Teilkreis 6">
              <a:extLst>
                <a:ext uri="{FF2B5EF4-FFF2-40B4-BE49-F238E27FC236}">
                  <a16:creationId xmlns:a16="http://schemas.microsoft.com/office/drawing/2014/main" id="{1950C6A5-FD3C-27C1-2B3F-DEC24F5B8695}"/>
                </a:ext>
              </a:extLst>
            </p:cNvPr>
            <p:cNvSpPr txBox="1"/>
            <p:nvPr/>
          </p:nvSpPr>
          <p:spPr>
            <a:xfrm>
              <a:off x="3213281" y="1427428"/>
              <a:ext cx="1910348" cy="7344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42240" tIns="142240" rIns="142240" bIns="142240" numCol="1" spcCol="1270" anchor="ctr" anchorCtr="0">
              <a:noAutofit/>
            </a:bodyPr>
            <a:lstStyle/>
            <a:p>
              <a:pPr marL="0" lvl="0" indent="0" algn="ctr" defTabSz="889000">
                <a:spcBef>
                  <a:spcPct val="0"/>
                </a:spcBef>
                <a:buNone/>
              </a:pPr>
              <a:r>
                <a:rPr lang="de-DE" sz="2200" kern="1200" dirty="0"/>
                <a:t>Schulungsraum</a:t>
              </a:r>
            </a:p>
          </p:txBody>
        </p:sp>
      </p:grp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05B13EFC-23AA-E0EA-47F9-D6643575C30C}"/>
              </a:ext>
            </a:extLst>
          </p:cNvPr>
          <p:cNvGrpSpPr/>
          <p:nvPr/>
        </p:nvGrpSpPr>
        <p:grpSpPr>
          <a:xfrm>
            <a:off x="3309852" y="3198581"/>
            <a:ext cx="3190875" cy="2564374"/>
            <a:chOff x="3006804" y="2250064"/>
            <a:chExt cx="2351371" cy="1910348"/>
          </a:xfrm>
        </p:grpSpPr>
        <p:sp>
          <p:nvSpPr>
            <p:cNvPr id="29" name="Teilkreis 28">
              <a:extLst>
                <a:ext uri="{FF2B5EF4-FFF2-40B4-BE49-F238E27FC236}">
                  <a16:creationId xmlns:a16="http://schemas.microsoft.com/office/drawing/2014/main" id="{FFEA4970-A809-9296-FF46-CCF3B2B661DC}"/>
                </a:ext>
              </a:extLst>
            </p:cNvPr>
            <p:cNvSpPr/>
            <p:nvPr/>
          </p:nvSpPr>
          <p:spPr>
            <a:xfrm rot="10800000">
              <a:off x="3257400" y="2250064"/>
              <a:ext cx="1910348" cy="1910348"/>
            </a:xfrm>
            <a:prstGeom prst="pieWedge">
              <a:avLst/>
            </a:prstGeom>
            <a:gradFill rotWithShape="0">
              <a:gsLst>
                <a:gs pos="0">
                  <a:srgbClr val="3C67AF"/>
                </a:gs>
                <a:gs pos="90000">
                  <a:srgbClr val="B15EA1"/>
                </a:gs>
                <a:gs pos="100000">
                  <a:srgbClr val="B15EA1"/>
                </a:gs>
              </a:gsLst>
              <a:path path="circle">
                <a:fillToRect l="100000" t="100000"/>
              </a:path>
            </a:gra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30" name="Teilkreis 8">
              <a:extLst>
                <a:ext uri="{FF2B5EF4-FFF2-40B4-BE49-F238E27FC236}">
                  <a16:creationId xmlns:a16="http://schemas.microsoft.com/office/drawing/2014/main" id="{91C3465F-221F-82BD-7DD1-5F5D10C3E86C}"/>
                </a:ext>
              </a:extLst>
            </p:cNvPr>
            <p:cNvSpPr txBox="1"/>
            <p:nvPr/>
          </p:nvSpPr>
          <p:spPr>
            <a:xfrm>
              <a:off x="3006804" y="2302251"/>
              <a:ext cx="2351371" cy="7344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42240" tIns="142240" rIns="142240" bIns="142240" numCol="1" spcCol="1270" anchor="ctr" anchorCtr="0">
              <a:noAutofit/>
            </a:bodyPr>
            <a:lstStyle/>
            <a:p>
              <a:pPr marL="0" lvl="0" indent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e-DE" sz="2200" kern="1200" dirty="0"/>
                <a:t>Veranstaltungsraum</a:t>
              </a:r>
            </a:p>
          </p:txBody>
        </p:sp>
      </p:grp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D81026AC-8D4D-C5FE-ECFF-DF68C5E1D35F}"/>
              </a:ext>
            </a:extLst>
          </p:cNvPr>
          <p:cNvGrpSpPr/>
          <p:nvPr/>
        </p:nvGrpSpPr>
        <p:grpSpPr>
          <a:xfrm>
            <a:off x="584805" y="3177575"/>
            <a:ext cx="3034901" cy="2564373"/>
            <a:chOff x="1183254" y="2250066"/>
            <a:chExt cx="2100777" cy="2021488"/>
          </a:xfrm>
        </p:grpSpPr>
        <p:sp>
          <p:nvSpPr>
            <p:cNvPr id="27" name="Teilkreis 26">
              <a:extLst>
                <a:ext uri="{FF2B5EF4-FFF2-40B4-BE49-F238E27FC236}">
                  <a16:creationId xmlns:a16="http://schemas.microsoft.com/office/drawing/2014/main" id="{83AA3F97-9F74-69DD-8E82-FBCD4097B69B}"/>
                </a:ext>
              </a:extLst>
            </p:cNvPr>
            <p:cNvSpPr/>
            <p:nvPr/>
          </p:nvSpPr>
          <p:spPr>
            <a:xfrm rot="16200000">
              <a:off x="1205585" y="2307976"/>
              <a:ext cx="2021488" cy="1905667"/>
            </a:xfrm>
            <a:prstGeom prst="pieWedge">
              <a:avLst/>
            </a:prstGeom>
            <a:gradFill rotWithShape="0">
              <a:gsLst>
                <a:gs pos="0">
                  <a:srgbClr val="3C67AF"/>
                </a:gs>
                <a:gs pos="90000">
                  <a:srgbClr val="B15EA1"/>
                </a:gs>
                <a:gs pos="100000">
                  <a:srgbClr val="B15EA1"/>
                </a:gs>
              </a:gsLst>
              <a:path path="circle">
                <a:fillToRect l="100000" t="100000"/>
              </a:path>
            </a:gra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de-DE"/>
            </a:p>
          </p:txBody>
        </p:sp>
        <p:sp>
          <p:nvSpPr>
            <p:cNvPr id="28" name="Teilkreis 10">
              <a:extLst>
                <a:ext uri="{FF2B5EF4-FFF2-40B4-BE49-F238E27FC236}">
                  <a16:creationId xmlns:a16="http://schemas.microsoft.com/office/drawing/2014/main" id="{70C879A1-E8D6-D30D-6A3F-8C751CB5F621}"/>
                </a:ext>
              </a:extLst>
            </p:cNvPr>
            <p:cNvSpPr txBox="1"/>
            <p:nvPr/>
          </p:nvSpPr>
          <p:spPr>
            <a:xfrm>
              <a:off x="1183254" y="2302254"/>
              <a:ext cx="2100777" cy="73489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42240" tIns="142240" rIns="142240" bIns="142240" numCol="1" spcCol="1270" anchor="ctr" anchorCtr="0">
              <a:noAutofit/>
            </a:bodyPr>
            <a:lstStyle/>
            <a:p>
              <a:pPr marL="0" lvl="0" indent="0" algn="ctr" defTabSz="889000">
                <a:spcBef>
                  <a:spcPct val="0"/>
                </a:spcBef>
                <a:buNone/>
              </a:pPr>
              <a:r>
                <a:rPr lang="de-DE" sz="2200" kern="1200" dirty="0"/>
                <a:t>Kommunikationsraum</a:t>
              </a:r>
            </a:p>
          </p:txBody>
        </p: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4FEFFF9C-2844-DB7B-E1CC-3C4E954D1FC7}"/>
              </a:ext>
            </a:extLst>
          </p:cNvPr>
          <p:cNvSpPr txBox="1"/>
          <p:nvPr/>
        </p:nvSpPr>
        <p:spPr>
          <a:xfrm>
            <a:off x="2476871" y="98806"/>
            <a:ext cx="20454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/>
              <a:t>Qualifikation</a:t>
            </a:r>
          </a:p>
        </p:txBody>
      </p:sp>
      <p:pic>
        <p:nvPicPr>
          <p:cNvPr id="15" name="Grafik 14" descr="Pfeil: Kurve im Uhrzeigersinn mit einfarbiger Füllung">
            <a:extLst>
              <a:ext uri="{FF2B5EF4-FFF2-40B4-BE49-F238E27FC236}">
                <a16:creationId xmlns:a16="http://schemas.microsoft.com/office/drawing/2014/main" id="{ABE78EA1-4351-1E8C-C732-954B9B32133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390218" y="4110509"/>
            <a:ext cx="1365869" cy="1365869"/>
          </a:xfrm>
          <a:prstGeom prst="rect">
            <a:avLst/>
          </a:prstGeom>
        </p:spPr>
      </p:pic>
      <p:pic>
        <p:nvPicPr>
          <p:cNvPr id="17" name="Grafik 16" descr="Zurück mit einfarbiger Füllung">
            <a:extLst>
              <a:ext uri="{FF2B5EF4-FFF2-40B4-BE49-F238E27FC236}">
                <a16:creationId xmlns:a16="http://schemas.microsoft.com/office/drawing/2014/main" id="{E3EB4B6B-0C74-D81C-467E-7A0C3B473B3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322355" y="848770"/>
            <a:ext cx="1362138" cy="1362138"/>
          </a:xfrm>
          <a:prstGeom prst="rect">
            <a:avLst/>
          </a:prstGeom>
        </p:spPr>
      </p:pic>
      <p:pic>
        <p:nvPicPr>
          <p:cNvPr id="20" name="Grafik 19" descr="Pfeil: Kurve im Uhrzeigersinn mit einfarbiger Füllung">
            <a:extLst>
              <a:ext uri="{FF2B5EF4-FFF2-40B4-BE49-F238E27FC236}">
                <a16:creationId xmlns:a16="http://schemas.microsoft.com/office/drawing/2014/main" id="{4C1DF86A-ABAC-8344-EA75-30B9548721B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0800000">
            <a:off x="4255775" y="843083"/>
            <a:ext cx="1373512" cy="1373512"/>
          </a:xfrm>
          <a:prstGeom prst="rect">
            <a:avLst/>
          </a:prstGeom>
        </p:spPr>
      </p:pic>
      <p:pic>
        <p:nvPicPr>
          <p:cNvPr id="21" name="Grafik 20" descr="Zurück mit einfarbiger Füllung">
            <a:extLst>
              <a:ext uri="{FF2B5EF4-FFF2-40B4-BE49-F238E27FC236}">
                <a16:creationId xmlns:a16="http://schemas.microsoft.com/office/drawing/2014/main" id="{EDDE5640-8CA7-41C0-42E9-AB1B01A3B00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0800000">
            <a:off x="4251904" y="4070954"/>
            <a:ext cx="1441385" cy="1441385"/>
          </a:xfrm>
          <a:prstGeom prst="rect">
            <a:avLst/>
          </a:prstGeom>
        </p:spPr>
      </p:pic>
      <p:sp>
        <p:nvSpPr>
          <p:cNvPr id="22" name="Textfeld 21">
            <a:extLst>
              <a:ext uri="{FF2B5EF4-FFF2-40B4-BE49-F238E27FC236}">
                <a16:creationId xmlns:a16="http://schemas.microsoft.com/office/drawing/2014/main" id="{389DE056-BBDA-2B2A-99DE-B3DEDDDB08CE}"/>
              </a:ext>
            </a:extLst>
          </p:cNvPr>
          <p:cNvSpPr txBox="1"/>
          <p:nvPr/>
        </p:nvSpPr>
        <p:spPr>
          <a:xfrm>
            <a:off x="1948111" y="5793192"/>
            <a:ext cx="35649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/>
              <a:t>Transfer und Innovation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59D3AE14-CC81-FFBB-E898-695157D8A3BF}"/>
              </a:ext>
            </a:extLst>
          </p:cNvPr>
          <p:cNvSpPr txBox="1"/>
          <p:nvPr/>
        </p:nvSpPr>
        <p:spPr>
          <a:xfrm>
            <a:off x="5771078" y="1290786"/>
            <a:ext cx="6152224" cy="47089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lvl="1" indent="0">
              <a:buNone/>
            </a:pPr>
            <a:r>
              <a:rPr lang="de-DE" sz="2000" dirty="0">
                <a:cs typeface="Arial" panose="020B0604020202020204" pitchFamily="34" charset="0"/>
              </a:rPr>
              <a:t>Die QTI-Knoten sollen als reale Anlaufstelle in den Landkreisen etabliert werden, um</a:t>
            </a:r>
          </a:p>
          <a:p>
            <a:pPr marL="457200" lvl="1" indent="0">
              <a:buNone/>
            </a:pPr>
            <a:endParaRPr lang="de-DE" sz="2000" dirty="0">
              <a:cs typeface="Arial" panose="020B0604020202020204" pitchFamily="34" charset="0"/>
            </a:endParaRP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de-DE" sz="2000" dirty="0">
                <a:cs typeface="Arial" panose="020B0604020202020204" pitchFamily="34" charset="0"/>
              </a:rPr>
              <a:t>einen „Open Workspace“ zu schaffen, an dem Weiterbildungs- und Qualifikationsmaßnahmen angeboten werden</a:t>
            </a:r>
          </a:p>
          <a:p>
            <a:pPr lvl="2"/>
            <a:endParaRPr lang="de-DE" sz="2000" dirty="0">
              <a:cs typeface="Arial" panose="020B0604020202020204" pitchFamily="34" charset="0"/>
            </a:endParaRP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de-DE" sz="2000" dirty="0">
                <a:cs typeface="Arial" panose="020B0604020202020204" pitchFamily="34" charset="0"/>
              </a:rPr>
              <a:t>den Austausch zwischen Unternehmen zu fördern</a:t>
            </a:r>
          </a:p>
          <a:p>
            <a:pPr lvl="2"/>
            <a:endParaRPr lang="de-DE" sz="2000" dirty="0">
              <a:cs typeface="Arial" panose="020B0604020202020204" pitchFamily="34" charset="0"/>
            </a:endParaRP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de-DE" sz="2000" dirty="0">
                <a:cs typeface="Arial" panose="020B0604020202020204" pitchFamily="34" charset="0"/>
              </a:rPr>
              <a:t>Kontaktaufnahme mit den Organisatoren der Lehrgänge zu ermöglichen</a:t>
            </a:r>
          </a:p>
          <a:p>
            <a:pPr lvl="2"/>
            <a:endParaRPr lang="de-DE" sz="2000" dirty="0">
              <a:cs typeface="Arial" panose="020B0604020202020204" pitchFamily="34" charset="0"/>
            </a:endParaRP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de-DE" sz="2000" dirty="0">
                <a:cs typeface="Arial" panose="020B0604020202020204" pitchFamily="34" charset="0"/>
              </a:rPr>
              <a:t>aktive Netzwerkarbeit der verschiedenen Akteure zu unterstützen</a:t>
            </a:r>
          </a:p>
        </p:txBody>
      </p:sp>
    </p:spTree>
    <p:extLst>
      <p:ext uri="{BB962C8B-B14F-4D97-AF65-F5344CB8AC3E}">
        <p14:creationId xmlns:p14="http://schemas.microsoft.com/office/powerpoint/2010/main" val="96666939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D6EC46-A083-A435-AC0B-81792C28D5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C68B1543-ED9B-12D6-C20C-40A3D3273235}"/>
              </a:ext>
            </a:extLst>
          </p:cNvPr>
          <p:cNvSpPr/>
          <p:nvPr/>
        </p:nvSpPr>
        <p:spPr>
          <a:xfrm>
            <a:off x="0" y="6189785"/>
            <a:ext cx="12192000" cy="668215"/>
          </a:xfrm>
          <a:prstGeom prst="rect">
            <a:avLst/>
          </a:prstGeom>
          <a:gradFill flip="none" rotWithShape="1">
            <a:gsLst>
              <a:gs pos="0">
                <a:srgbClr val="3C67AF"/>
              </a:gs>
              <a:gs pos="75000">
                <a:srgbClr val="B15EA1"/>
              </a:gs>
              <a:gs pos="100000">
                <a:srgbClr val="B15EA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BEC3B62E-9A21-3DC7-7253-900D5C64DDBC}"/>
              </a:ext>
            </a:extLst>
          </p:cNvPr>
          <p:cNvSpPr txBox="1"/>
          <p:nvPr/>
        </p:nvSpPr>
        <p:spPr>
          <a:xfrm>
            <a:off x="311498" y="301450"/>
            <a:ext cx="76769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cs typeface="Arial" panose="020B0604020202020204" pitchFamily="34" charset="0"/>
              </a:rPr>
              <a:t>QTI-Knote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28E9360A-83F5-EC02-FA13-7CAED9E2FDD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8439" y="-277650"/>
            <a:ext cx="4320000" cy="1927639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E8401E4A-4AE4-2A62-CF03-0DFB1D5F7C40}"/>
              </a:ext>
            </a:extLst>
          </p:cNvPr>
          <p:cNvSpPr/>
          <p:nvPr/>
        </p:nvSpPr>
        <p:spPr>
          <a:xfrm flipV="1">
            <a:off x="-1" y="949068"/>
            <a:ext cx="6129495" cy="45719"/>
          </a:xfrm>
          <a:prstGeom prst="rect">
            <a:avLst/>
          </a:prstGeom>
          <a:gradFill>
            <a:gsLst>
              <a:gs pos="0">
                <a:srgbClr val="3C67AF"/>
              </a:gs>
              <a:gs pos="75000">
                <a:srgbClr val="B15EA1"/>
              </a:gs>
              <a:gs pos="100000">
                <a:srgbClr val="B15EA1"/>
              </a:gs>
            </a:gsLst>
            <a:path path="circle">
              <a:fillToRect l="100000" t="100000"/>
            </a:path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Inhaltsplatzhalter 5">
            <a:extLst>
              <a:ext uri="{FF2B5EF4-FFF2-40B4-BE49-F238E27FC236}">
                <a16:creationId xmlns:a16="http://schemas.microsoft.com/office/drawing/2014/main" id="{5677DFF5-BDE2-ED70-537E-3DD646E06F0D}"/>
              </a:ext>
            </a:extLst>
          </p:cNvPr>
          <p:cNvSpPr txBox="1">
            <a:spLocks/>
          </p:cNvSpPr>
          <p:nvPr/>
        </p:nvSpPr>
        <p:spPr>
          <a:xfrm>
            <a:off x="6573927" y="1303599"/>
            <a:ext cx="5568094" cy="4886186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14400" lvl="2" indent="0">
              <a:buNone/>
            </a:pPr>
            <a:endParaRPr lang="de-DE" sz="1200" dirty="0">
              <a:cs typeface="Arial" panose="020B0604020202020204" pitchFamily="34" charset="0"/>
            </a:endParaRPr>
          </a:p>
          <a:p>
            <a:pPr marL="1074738" lvl="2" indent="-355600">
              <a:buNone/>
            </a:pPr>
            <a:r>
              <a:rPr lang="de-DE" dirty="0">
                <a:latin typeface="Calibri (Textkörper)"/>
                <a:cs typeface="Arial" panose="020B0604020202020204" pitchFamily="34" charset="0"/>
              </a:rPr>
              <a:t>Landkreis Gotha:</a:t>
            </a:r>
          </a:p>
          <a:p>
            <a:pPr marL="1074738" lvl="2" indent="-355600">
              <a:buFont typeface="Wingdings" panose="05000000000000000000" pitchFamily="2" charset="2"/>
              <a:buChar char="Ø"/>
            </a:pPr>
            <a:r>
              <a:rPr lang="de-DE" dirty="0">
                <a:latin typeface="Calibri (Textkörper)"/>
                <a:cs typeface="Arial" panose="020B0604020202020204" pitchFamily="34" charset="0"/>
              </a:rPr>
              <a:t>01.03.2024</a:t>
            </a:r>
            <a:br>
              <a:rPr lang="de-DE" dirty="0">
                <a:latin typeface="Calibri (Textkörper)"/>
                <a:cs typeface="Arial" panose="020B0604020202020204" pitchFamily="34" charset="0"/>
              </a:rPr>
            </a:br>
            <a:endParaRPr lang="de-DE" dirty="0">
              <a:latin typeface="Calibri (Textkörper)"/>
              <a:cs typeface="Arial" panose="020B0604020202020204" pitchFamily="34" charset="0"/>
            </a:endParaRPr>
          </a:p>
          <a:p>
            <a:pPr marL="1074738" lvl="2" indent="-355600">
              <a:buNone/>
            </a:pPr>
            <a:r>
              <a:rPr lang="de-DE" dirty="0">
                <a:latin typeface="Calibri (Textkörper)"/>
                <a:cs typeface="Arial" panose="020B0604020202020204" pitchFamily="34" charset="0"/>
              </a:rPr>
              <a:t>Landkreis Sömmerda:</a:t>
            </a:r>
          </a:p>
          <a:p>
            <a:pPr marL="1074738" lvl="3" indent="-355600">
              <a:buFont typeface="Wingdings" panose="05000000000000000000" pitchFamily="2" charset="2"/>
              <a:buChar char="Ø"/>
            </a:pPr>
            <a:r>
              <a:rPr lang="de-DE" sz="2000" dirty="0">
                <a:latin typeface="Calibri (Textkörper)"/>
                <a:cs typeface="Arial" panose="020B0604020202020204" pitchFamily="34" charset="0"/>
              </a:rPr>
              <a:t>02.08.2024</a:t>
            </a:r>
            <a:endParaRPr lang="de-DE" sz="2000" b="1" dirty="0">
              <a:solidFill>
                <a:srgbClr val="00B050"/>
              </a:solidFill>
              <a:latin typeface="Calibri (Textkörper)"/>
              <a:cs typeface="Arial" panose="020B0604020202020204" pitchFamily="34" charset="0"/>
              <a:sym typeface="Wingdings 2" panose="05020102010507070707" pitchFamily="18" charset="2"/>
            </a:endParaRPr>
          </a:p>
          <a:p>
            <a:pPr marL="1074738" lvl="3" indent="-355600">
              <a:buNone/>
            </a:pPr>
            <a:endParaRPr lang="de-DE" sz="2000" dirty="0">
              <a:latin typeface="Calibri (Textkörper)"/>
              <a:cs typeface="Arial" panose="020B0604020202020204" pitchFamily="34" charset="0"/>
            </a:endParaRPr>
          </a:p>
          <a:p>
            <a:pPr marL="1074738" lvl="2" indent="-355600">
              <a:buNone/>
            </a:pPr>
            <a:r>
              <a:rPr lang="de-DE" dirty="0">
                <a:latin typeface="Calibri (Textkörper)"/>
                <a:cs typeface="Arial" panose="020B0604020202020204" pitchFamily="34" charset="0"/>
              </a:rPr>
              <a:t>Unstrut-Hainich-Kreis:</a:t>
            </a:r>
          </a:p>
          <a:p>
            <a:pPr marL="1074738" lvl="3" indent="-355600">
              <a:buFont typeface="Wingdings" panose="05000000000000000000" pitchFamily="2" charset="2"/>
              <a:buChar char="Ø"/>
            </a:pPr>
            <a:r>
              <a:rPr lang="de-DE" sz="2000" dirty="0">
                <a:latin typeface="Calibri (Textkörper)"/>
                <a:cs typeface="Arial" panose="020B0604020202020204" pitchFamily="34" charset="0"/>
              </a:rPr>
              <a:t>06.09.2024</a:t>
            </a:r>
            <a:endParaRPr lang="de-DE" sz="2000" b="1" dirty="0">
              <a:solidFill>
                <a:srgbClr val="00B050"/>
              </a:solidFill>
              <a:latin typeface="Calibri (Textkörper)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1074738" lvl="3" indent="-355600">
              <a:buNone/>
            </a:pPr>
            <a:endParaRPr lang="de-DE" sz="2000" dirty="0">
              <a:latin typeface="Calibri (Textkörper)"/>
              <a:cs typeface="Arial" panose="020B0604020202020204" pitchFamily="34" charset="0"/>
            </a:endParaRPr>
          </a:p>
          <a:p>
            <a:pPr marL="1074738" lvl="2" indent="-355600">
              <a:buNone/>
            </a:pPr>
            <a:r>
              <a:rPr lang="de-DE" dirty="0">
                <a:latin typeface="Calibri (Textkörper)"/>
                <a:cs typeface="Arial" panose="020B0604020202020204" pitchFamily="34" charset="0"/>
              </a:rPr>
              <a:t>Wartburgkreis:</a:t>
            </a:r>
          </a:p>
          <a:p>
            <a:pPr marL="1074738" lvl="3" indent="-355600">
              <a:buFont typeface="Wingdings" panose="05000000000000000000" pitchFamily="2" charset="2"/>
              <a:buChar char="Ø"/>
            </a:pPr>
            <a:r>
              <a:rPr lang="de-DE" sz="2000" dirty="0">
                <a:latin typeface="Calibri (Textkörper)"/>
                <a:cs typeface="Arial" panose="020B0604020202020204" pitchFamily="34" charset="0"/>
              </a:rPr>
              <a:t>14.10.2024</a:t>
            </a:r>
            <a:endParaRPr lang="de-DE" sz="2000" dirty="0">
              <a:solidFill>
                <a:srgbClr val="FF0000"/>
              </a:solidFill>
              <a:latin typeface="Calibri (Textkörper)"/>
              <a:cs typeface="Arial" panose="020B0604020202020204" pitchFamily="34" charset="0"/>
            </a:endParaRPr>
          </a:p>
          <a:p>
            <a:pPr marL="1074738" lvl="2" indent="-355600">
              <a:buNone/>
            </a:pPr>
            <a:endParaRPr lang="de-DE" dirty="0">
              <a:latin typeface="Calibri (Textkörper)"/>
              <a:cs typeface="Arial" panose="020B0604020202020204" pitchFamily="34" charset="0"/>
            </a:endParaRPr>
          </a:p>
          <a:p>
            <a:pPr marL="1074738" lvl="2" indent="-355600">
              <a:buNone/>
            </a:pPr>
            <a:r>
              <a:rPr lang="de-DE" dirty="0">
                <a:latin typeface="Calibri (Textkörper)"/>
                <a:cs typeface="Arial" panose="020B0604020202020204" pitchFamily="34" charset="0"/>
              </a:rPr>
              <a:t>Landkreis Schmalkalden-Meiningen:</a:t>
            </a:r>
          </a:p>
          <a:p>
            <a:pPr marL="1074738" lvl="3" indent="-355600">
              <a:buFont typeface="Wingdings" panose="05000000000000000000" pitchFamily="2" charset="2"/>
              <a:buChar char="Ø"/>
            </a:pPr>
            <a:r>
              <a:rPr lang="de-DE" sz="2000" dirty="0">
                <a:latin typeface="Calibri (Textkörper)"/>
                <a:cs typeface="Arial" panose="020B0604020202020204" pitchFamily="34" charset="0"/>
              </a:rPr>
              <a:t>15.11.2024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4CC63431-C933-D6A4-6EFE-95459FD6DA2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64" r="5364"/>
          <a:stretch/>
        </p:blipFill>
        <p:spPr>
          <a:xfrm>
            <a:off x="49979" y="842975"/>
            <a:ext cx="7151553" cy="5663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16025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D6EC46-A083-A435-AC0B-81792C28D5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C68B1543-ED9B-12D6-C20C-40A3D3273235}"/>
              </a:ext>
            </a:extLst>
          </p:cNvPr>
          <p:cNvSpPr/>
          <p:nvPr/>
        </p:nvSpPr>
        <p:spPr>
          <a:xfrm>
            <a:off x="0" y="6189785"/>
            <a:ext cx="12192000" cy="668215"/>
          </a:xfrm>
          <a:prstGeom prst="rect">
            <a:avLst/>
          </a:prstGeom>
          <a:gradFill flip="none" rotWithShape="1">
            <a:gsLst>
              <a:gs pos="0">
                <a:srgbClr val="3C67AF"/>
              </a:gs>
              <a:gs pos="75000">
                <a:srgbClr val="B15EA1"/>
              </a:gs>
              <a:gs pos="100000">
                <a:srgbClr val="B15EA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BEC3B62E-9A21-3DC7-7253-900D5C64DDBC}"/>
              </a:ext>
            </a:extLst>
          </p:cNvPr>
          <p:cNvSpPr txBox="1"/>
          <p:nvPr/>
        </p:nvSpPr>
        <p:spPr>
          <a:xfrm>
            <a:off x="311498" y="301450"/>
            <a:ext cx="76769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cs typeface="Arial" panose="020B0604020202020204" pitchFamily="34" charset="0"/>
              </a:rPr>
              <a:t>Pilotlehrgänge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28E9360A-83F5-EC02-FA13-7CAED9E2FDD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8439" y="-277650"/>
            <a:ext cx="4320000" cy="1927639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E8401E4A-4AE4-2A62-CF03-0DFB1D5F7C40}"/>
              </a:ext>
            </a:extLst>
          </p:cNvPr>
          <p:cNvSpPr/>
          <p:nvPr/>
        </p:nvSpPr>
        <p:spPr>
          <a:xfrm flipV="1">
            <a:off x="-1" y="949068"/>
            <a:ext cx="6129495" cy="45719"/>
          </a:xfrm>
          <a:prstGeom prst="rect">
            <a:avLst/>
          </a:prstGeom>
          <a:gradFill>
            <a:gsLst>
              <a:gs pos="0">
                <a:srgbClr val="3C67AF"/>
              </a:gs>
              <a:gs pos="75000">
                <a:srgbClr val="B15EA1"/>
              </a:gs>
              <a:gs pos="100000">
                <a:srgbClr val="B15EA1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Inhaltsplatzhalter 5">
            <a:extLst>
              <a:ext uri="{FF2B5EF4-FFF2-40B4-BE49-F238E27FC236}">
                <a16:creationId xmlns:a16="http://schemas.microsoft.com/office/drawing/2014/main" id="{5677DFF5-BDE2-ED70-537E-3DD646E06F0D}"/>
              </a:ext>
            </a:extLst>
          </p:cNvPr>
          <p:cNvSpPr txBox="1">
            <a:spLocks/>
          </p:cNvSpPr>
          <p:nvPr/>
        </p:nvSpPr>
        <p:spPr>
          <a:xfrm>
            <a:off x="5909187" y="1303598"/>
            <a:ext cx="6057911" cy="48861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14400" lvl="2" indent="0">
              <a:buNone/>
            </a:pPr>
            <a:r>
              <a:rPr lang="de-DE" dirty="0">
                <a:cs typeface="Arial" panose="020B0604020202020204" pitchFamily="34" charset="0"/>
              </a:rPr>
              <a:t>Landkreis Gotha:</a:t>
            </a:r>
          </a:p>
          <a:p>
            <a:pPr marL="1341438" lvl="2" indent="-174625">
              <a:buFont typeface="Wingdings" panose="05000000000000000000" pitchFamily="2" charset="2"/>
              <a:buChar char="Ø"/>
            </a:pPr>
            <a:r>
              <a:rPr lang="de-DE" dirty="0">
                <a:cs typeface="Arial" panose="020B0604020202020204" pitchFamily="34" charset="0"/>
              </a:rPr>
              <a:t> Fahrzeugkomponenten (15.10.2024)</a:t>
            </a:r>
          </a:p>
          <a:p>
            <a:pPr marL="1166813" lvl="2" indent="0">
              <a:buNone/>
            </a:pPr>
            <a:endParaRPr lang="de-DE" sz="500" dirty="0">
              <a:cs typeface="Arial" panose="020B0604020202020204" pitchFamily="34" charset="0"/>
            </a:endParaRPr>
          </a:p>
          <a:p>
            <a:pPr marL="914400" lvl="2" indent="0">
              <a:buNone/>
            </a:pPr>
            <a:r>
              <a:rPr lang="de-DE" dirty="0">
                <a:cs typeface="Arial" panose="020B0604020202020204" pitchFamily="34" charset="0"/>
              </a:rPr>
              <a:t>Landkreis Sömmerda:</a:t>
            </a:r>
          </a:p>
          <a:p>
            <a:pPr marL="1436688" lvl="3" indent="-269875">
              <a:buFont typeface="Wingdings" panose="05000000000000000000" pitchFamily="2" charset="2"/>
              <a:buChar char="Ø"/>
            </a:pPr>
            <a:r>
              <a:rPr lang="de-DE" sz="2000" dirty="0">
                <a:cs typeface="Arial" panose="020B0604020202020204" pitchFamily="34" charset="0"/>
              </a:rPr>
              <a:t>Elektromobilität (ab Jan. 2025)</a:t>
            </a:r>
          </a:p>
          <a:p>
            <a:pPr marL="1166813" lvl="3" indent="0">
              <a:buNone/>
            </a:pPr>
            <a:endParaRPr lang="de-DE" sz="500" dirty="0">
              <a:cs typeface="Arial" panose="020B0604020202020204" pitchFamily="34" charset="0"/>
            </a:endParaRPr>
          </a:p>
          <a:p>
            <a:pPr marL="914400" lvl="2" indent="0">
              <a:buNone/>
            </a:pPr>
            <a:r>
              <a:rPr lang="de-DE" dirty="0">
                <a:cs typeface="Arial" panose="020B0604020202020204" pitchFamily="34" charset="0"/>
              </a:rPr>
              <a:t>Landkreis Schmalkalden-Meiningen:</a:t>
            </a:r>
          </a:p>
          <a:p>
            <a:pPr marL="1436688" lvl="3" indent="-269875">
              <a:buFont typeface="Wingdings" panose="05000000000000000000" pitchFamily="2" charset="2"/>
              <a:buChar char="Ø"/>
            </a:pPr>
            <a:r>
              <a:rPr lang="de-DE" sz="2000" dirty="0">
                <a:cs typeface="Arial" panose="020B0604020202020204" pitchFamily="34" charset="0"/>
              </a:rPr>
              <a:t>Elektrik/ Elektronik (22.11.2024)</a:t>
            </a:r>
          </a:p>
          <a:p>
            <a:pPr marL="1166813" lvl="3" indent="0">
              <a:buNone/>
            </a:pPr>
            <a:endParaRPr lang="de-DE" sz="500" dirty="0">
              <a:cs typeface="Arial" panose="020B0604020202020204" pitchFamily="34" charset="0"/>
            </a:endParaRPr>
          </a:p>
          <a:p>
            <a:pPr marL="914400" lvl="2" indent="0">
              <a:buNone/>
            </a:pPr>
            <a:r>
              <a:rPr lang="de-DE" dirty="0">
                <a:cs typeface="Arial" panose="020B0604020202020204" pitchFamily="34" charset="0"/>
              </a:rPr>
              <a:t>Wartburgkreis:</a:t>
            </a:r>
          </a:p>
          <a:p>
            <a:pPr marL="1436688" lvl="3" indent="-269875">
              <a:buFont typeface="Wingdings" panose="05000000000000000000" pitchFamily="2" charset="2"/>
              <a:buChar char="Ø"/>
            </a:pPr>
            <a:r>
              <a:rPr lang="de-DE" sz="2000" dirty="0">
                <a:cs typeface="Arial" panose="020B0604020202020204" pitchFamily="34" charset="0"/>
              </a:rPr>
              <a:t>Industrie 4.0/ Digitale Transformation (21.10.2024)</a:t>
            </a:r>
          </a:p>
          <a:p>
            <a:pPr marL="1166813" lvl="3" indent="0">
              <a:buNone/>
            </a:pPr>
            <a:endParaRPr lang="de-DE" sz="500" dirty="0">
              <a:cs typeface="Arial" panose="020B0604020202020204" pitchFamily="34" charset="0"/>
            </a:endParaRPr>
          </a:p>
          <a:p>
            <a:pPr marL="914400" lvl="2" indent="0">
              <a:buNone/>
            </a:pPr>
            <a:r>
              <a:rPr lang="de-DE" dirty="0">
                <a:cs typeface="Arial" panose="020B0604020202020204" pitchFamily="34" charset="0"/>
              </a:rPr>
              <a:t>Unstrut-Hainich-Kreis:</a:t>
            </a:r>
          </a:p>
          <a:p>
            <a:pPr marL="1436688" lvl="3" indent="-269875">
              <a:buFont typeface="Wingdings" panose="05000000000000000000" pitchFamily="2" charset="2"/>
              <a:buChar char="Ø"/>
            </a:pPr>
            <a:r>
              <a:rPr lang="de-DE" sz="2000" dirty="0">
                <a:cs typeface="Arial" panose="020B0604020202020204" pitchFamily="34" charset="0"/>
              </a:rPr>
              <a:t>IHK-Zertifikatslehrgang „Fachexperte für Wasserstoffanwendungen“</a:t>
            </a:r>
          </a:p>
          <a:p>
            <a:pPr marL="1438275" lvl="3" indent="0">
              <a:buNone/>
            </a:pPr>
            <a:r>
              <a:rPr lang="de-DE" sz="2000" dirty="0">
                <a:cs typeface="Arial" panose="020B0604020202020204" pitchFamily="34" charset="0"/>
              </a:rPr>
              <a:t>(ab Jan. 2025)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4CC63431-C933-D6A4-6EFE-95459FD6DA2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64" r="5364"/>
          <a:stretch/>
        </p:blipFill>
        <p:spPr>
          <a:xfrm>
            <a:off x="49979" y="842975"/>
            <a:ext cx="7151553" cy="5663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322090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www.invest-in-thuringia.de</a:t>
            </a:r>
          </a:p>
        </p:txBody>
      </p:sp>
    </p:spTree>
    <p:extLst>
      <p:ext uri="{BB962C8B-B14F-4D97-AF65-F5344CB8AC3E}">
        <p14:creationId xmlns:p14="http://schemas.microsoft.com/office/powerpoint/2010/main" val="8587532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de-DE" sz="340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hre Vorteile in Thüringen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1AAF98D0-FE5F-01A8-F406-58543D7E74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13.02.2025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Gliederung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13123D-ADC2-423E-8E38-66EF22156AFA}" type="slidenum">
              <a:rPr lang="de-DE" smtClean="0"/>
              <a:pPr/>
              <a:t>2</a:t>
            </a:fld>
            <a:endParaRPr lang="de-DE" dirty="0"/>
          </a:p>
        </p:txBody>
      </p:sp>
      <p:grpSp>
        <p:nvGrpSpPr>
          <p:cNvPr id="62" name="Gruppieren 61"/>
          <p:cNvGrpSpPr/>
          <p:nvPr/>
        </p:nvGrpSpPr>
        <p:grpSpPr>
          <a:xfrm>
            <a:off x="736586" y="2069895"/>
            <a:ext cx="5222525" cy="898892"/>
            <a:chOff x="736586" y="2069895"/>
            <a:chExt cx="5222525" cy="898892"/>
          </a:xfrm>
        </p:grpSpPr>
        <p:sp>
          <p:nvSpPr>
            <p:cNvPr id="33" name="Rechteck 32"/>
            <p:cNvSpPr>
              <a:spLocks/>
            </p:cNvSpPr>
            <p:nvPr/>
          </p:nvSpPr>
          <p:spPr>
            <a:xfrm flipH="1">
              <a:off x="736586" y="2069895"/>
              <a:ext cx="4049849" cy="369332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algn="r"/>
              <a:r>
                <a:rPr lang="de-DE" b="1" dirty="0">
                  <a:solidFill>
                    <a:schemeClr val="tx2"/>
                  </a:solidFill>
                  <a:latin typeface="+mj-lt"/>
                </a:rPr>
                <a:t>Standort</a:t>
              </a:r>
            </a:p>
          </p:txBody>
        </p:sp>
        <p:sp>
          <p:nvSpPr>
            <p:cNvPr id="34" name="Rechteck 33"/>
            <p:cNvSpPr/>
            <p:nvPr/>
          </p:nvSpPr>
          <p:spPr>
            <a:xfrm flipH="1">
              <a:off x="5060213" y="2069895"/>
              <a:ext cx="898898" cy="898892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1" name="Rechteck 40"/>
            <p:cNvSpPr>
              <a:spLocks/>
            </p:cNvSpPr>
            <p:nvPr/>
          </p:nvSpPr>
          <p:spPr>
            <a:xfrm flipH="1">
              <a:off x="736586" y="2445567"/>
              <a:ext cx="4049849" cy="523220"/>
            </a:xfrm>
            <a:prstGeom prst="rect">
              <a:avLst/>
            </a:prstGeom>
          </p:spPr>
          <p:txBody>
            <a:bodyPr wrap="square" lIns="91440" tIns="45720" rIns="91440" bIns="45720" anchor="b">
              <a:spAutoFit/>
            </a:bodyPr>
            <a:lstStyle/>
            <a:p>
              <a:pPr algn="r"/>
              <a:r>
                <a:rPr lang="de-DE" sz="1400" dirty="0"/>
                <a:t>Geschäftlich tätig sein in</a:t>
              </a:r>
              <a:br>
                <a:rPr lang="de-DE" sz="1400" dirty="0"/>
              </a:br>
              <a:r>
                <a:rPr lang="de-DE" sz="1400" dirty="0"/>
                <a:t>einem der </a:t>
              </a:r>
              <a:r>
                <a:rPr lang="de-DE" sz="1400" b="1" dirty="0"/>
                <a:t>weltweit größten Märkte</a:t>
              </a:r>
            </a:p>
          </p:txBody>
        </p:sp>
        <p:sp>
          <p:nvSpPr>
            <p:cNvPr id="52" name="Shape 2939">
              <a:extLst>
                <a:ext uri="{FF2B5EF4-FFF2-40B4-BE49-F238E27FC236}">
                  <a16:creationId xmlns:a16="http://schemas.microsoft.com/office/drawing/2014/main" id="{1C54B091-7D96-469E-BAE1-4173DDF120EE}"/>
                </a:ext>
              </a:extLst>
            </p:cNvPr>
            <p:cNvSpPr/>
            <p:nvPr/>
          </p:nvSpPr>
          <p:spPr>
            <a:xfrm>
              <a:off x="5265796" y="2275478"/>
              <a:ext cx="487732" cy="48772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547" y="12509"/>
                  </a:moveTo>
                  <a:lnTo>
                    <a:pt x="18520" y="12645"/>
                  </a:lnTo>
                  <a:cubicBezTo>
                    <a:pt x="18572" y="12276"/>
                    <a:pt x="18589" y="11922"/>
                    <a:pt x="18572" y="11593"/>
                  </a:cubicBezTo>
                  <a:lnTo>
                    <a:pt x="17592" y="11644"/>
                  </a:lnTo>
                  <a:cubicBezTo>
                    <a:pt x="17606" y="11910"/>
                    <a:pt x="17591" y="12201"/>
                    <a:pt x="17547" y="12509"/>
                  </a:cubicBezTo>
                  <a:moveTo>
                    <a:pt x="17444" y="10833"/>
                  </a:moveTo>
                  <a:lnTo>
                    <a:pt x="18374" y="10520"/>
                  </a:lnTo>
                  <a:cubicBezTo>
                    <a:pt x="18262" y="10187"/>
                    <a:pt x="18104" y="9869"/>
                    <a:pt x="17890" y="9546"/>
                  </a:cubicBezTo>
                  <a:lnTo>
                    <a:pt x="17072" y="10089"/>
                  </a:lnTo>
                  <a:cubicBezTo>
                    <a:pt x="17237" y="10339"/>
                    <a:pt x="17359" y="10582"/>
                    <a:pt x="17444" y="10833"/>
                  </a:cubicBezTo>
                  <a:moveTo>
                    <a:pt x="17529" y="13890"/>
                  </a:moveTo>
                  <a:cubicBezTo>
                    <a:pt x="17440" y="13801"/>
                    <a:pt x="17317" y="13745"/>
                    <a:pt x="17182" y="13745"/>
                  </a:cubicBezTo>
                  <a:cubicBezTo>
                    <a:pt x="16910" y="13745"/>
                    <a:pt x="16691" y="13965"/>
                    <a:pt x="16691" y="14236"/>
                  </a:cubicBezTo>
                  <a:cubicBezTo>
                    <a:pt x="16691" y="14372"/>
                    <a:pt x="16746" y="14495"/>
                    <a:pt x="16835" y="14583"/>
                  </a:cubicBezTo>
                  <a:lnTo>
                    <a:pt x="17469" y="15218"/>
                  </a:lnTo>
                  <a:lnTo>
                    <a:pt x="16835" y="15853"/>
                  </a:lnTo>
                  <a:cubicBezTo>
                    <a:pt x="16746" y="15942"/>
                    <a:pt x="16691" y="16064"/>
                    <a:pt x="16691" y="16200"/>
                  </a:cubicBezTo>
                  <a:cubicBezTo>
                    <a:pt x="16691" y="16471"/>
                    <a:pt x="16910" y="16691"/>
                    <a:pt x="17182" y="16691"/>
                  </a:cubicBezTo>
                  <a:cubicBezTo>
                    <a:pt x="17317" y="16691"/>
                    <a:pt x="17440" y="16636"/>
                    <a:pt x="17529" y="16547"/>
                  </a:cubicBezTo>
                  <a:lnTo>
                    <a:pt x="18164" y="15912"/>
                  </a:lnTo>
                  <a:lnTo>
                    <a:pt x="18798" y="16547"/>
                  </a:lnTo>
                  <a:cubicBezTo>
                    <a:pt x="18887" y="16636"/>
                    <a:pt x="19010" y="16691"/>
                    <a:pt x="19145" y="16691"/>
                  </a:cubicBezTo>
                  <a:cubicBezTo>
                    <a:pt x="19417" y="16691"/>
                    <a:pt x="19636" y="16471"/>
                    <a:pt x="19636" y="16200"/>
                  </a:cubicBezTo>
                  <a:cubicBezTo>
                    <a:pt x="19636" y="16064"/>
                    <a:pt x="19582" y="15942"/>
                    <a:pt x="19493" y="15853"/>
                  </a:cubicBezTo>
                  <a:lnTo>
                    <a:pt x="18858" y="15218"/>
                  </a:lnTo>
                  <a:lnTo>
                    <a:pt x="19493" y="14583"/>
                  </a:lnTo>
                  <a:cubicBezTo>
                    <a:pt x="19582" y="14495"/>
                    <a:pt x="19636" y="14372"/>
                    <a:pt x="19636" y="14236"/>
                  </a:cubicBezTo>
                  <a:cubicBezTo>
                    <a:pt x="19636" y="13965"/>
                    <a:pt x="19417" y="13745"/>
                    <a:pt x="19145" y="13745"/>
                  </a:cubicBezTo>
                  <a:cubicBezTo>
                    <a:pt x="19009" y="13745"/>
                    <a:pt x="18887" y="13801"/>
                    <a:pt x="18798" y="13890"/>
                  </a:cubicBezTo>
                  <a:lnTo>
                    <a:pt x="18164" y="14524"/>
                  </a:lnTo>
                  <a:cubicBezTo>
                    <a:pt x="18164" y="14524"/>
                    <a:pt x="17529" y="13890"/>
                    <a:pt x="17529" y="13890"/>
                  </a:cubicBezTo>
                  <a:close/>
                  <a:moveTo>
                    <a:pt x="20618" y="20458"/>
                  </a:moveTo>
                  <a:lnTo>
                    <a:pt x="14727" y="18775"/>
                  </a:lnTo>
                  <a:lnTo>
                    <a:pt x="14727" y="7698"/>
                  </a:lnTo>
                  <a:cubicBezTo>
                    <a:pt x="14950" y="7802"/>
                    <a:pt x="15155" y="7914"/>
                    <a:pt x="15324" y="8034"/>
                  </a:cubicBezTo>
                  <a:lnTo>
                    <a:pt x="15893" y="7234"/>
                  </a:lnTo>
                  <a:cubicBezTo>
                    <a:pt x="15627" y="7044"/>
                    <a:pt x="15313" y="6872"/>
                    <a:pt x="14959" y="6721"/>
                  </a:cubicBezTo>
                  <a:lnTo>
                    <a:pt x="14727" y="7263"/>
                  </a:lnTo>
                  <a:lnTo>
                    <a:pt x="14727" y="1142"/>
                  </a:lnTo>
                  <a:lnTo>
                    <a:pt x="20618" y="2825"/>
                  </a:lnTo>
                  <a:cubicBezTo>
                    <a:pt x="20618" y="2825"/>
                    <a:pt x="20618" y="20458"/>
                    <a:pt x="20618" y="20458"/>
                  </a:cubicBezTo>
                  <a:close/>
                  <a:moveTo>
                    <a:pt x="13745" y="18775"/>
                  </a:moveTo>
                  <a:lnTo>
                    <a:pt x="7855" y="20458"/>
                  </a:lnTo>
                  <a:lnTo>
                    <a:pt x="7855" y="9347"/>
                  </a:lnTo>
                  <a:lnTo>
                    <a:pt x="8249" y="10199"/>
                  </a:lnTo>
                  <a:cubicBezTo>
                    <a:pt x="8580" y="10045"/>
                    <a:pt x="8881" y="9843"/>
                    <a:pt x="9168" y="9581"/>
                  </a:cubicBezTo>
                  <a:lnTo>
                    <a:pt x="8505" y="8857"/>
                  </a:lnTo>
                  <a:cubicBezTo>
                    <a:pt x="8297" y="9048"/>
                    <a:pt x="8088" y="9187"/>
                    <a:pt x="7855" y="9299"/>
                  </a:cubicBezTo>
                  <a:lnTo>
                    <a:pt x="7855" y="2825"/>
                  </a:lnTo>
                  <a:lnTo>
                    <a:pt x="13745" y="1142"/>
                  </a:lnTo>
                  <a:cubicBezTo>
                    <a:pt x="13745" y="1142"/>
                    <a:pt x="13745" y="18775"/>
                    <a:pt x="13745" y="18775"/>
                  </a:cubicBezTo>
                  <a:close/>
                  <a:moveTo>
                    <a:pt x="6873" y="20458"/>
                  </a:moveTo>
                  <a:lnTo>
                    <a:pt x="982" y="18775"/>
                  </a:lnTo>
                  <a:lnTo>
                    <a:pt x="982" y="1142"/>
                  </a:lnTo>
                  <a:lnTo>
                    <a:pt x="6873" y="2825"/>
                  </a:lnTo>
                  <a:cubicBezTo>
                    <a:pt x="6873" y="2825"/>
                    <a:pt x="6873" y="20458"/>
                    <a:pt x="6873" y="20458"/>
                  </a:cubicBezTo>
                  <a:close/>
                  <a:moveTo>
                    <a:pt x="21241" y="1990"/>
                  </a:moveTo>
                  <a:lnTo>
                    <a:pt x="21244" y="1983"/>
                  </a:lnTo>
                  <a:lnTo>
                    <a:pt x="14372" y="19"/>
                  </a:lnTo>
                  <a:lnTo>
                    <a:pt x="14369" y="27"/>
                  </a:lnTo>
                  <a:cubicBezTo>
                    <a:pt x="14326" y="14"/>
                    <a:pt x="14283" y="0"/>
                    <a:pt x="14236" y="0"/>
                  </a:cubicBezTo>
                  <a:cubicBezTo>
                    <a:pt x="14189" y="0"/>
                    <a:pt x="14147" y="14"/>
                    <a:pt x="14104" y="27"/>
                  </a:cubicBezTo>
                  <a:lnTo>
                    <a:pt x="14102" y="19"/>
                  </a:lnTo>
                  <a:lnTo>
                    <a:pt x="7364" y="1944"/>
                  </a:lnTo>
                  <a:lnTo>
                    <a:pt x="626" y="19"/>
                  </a:lnTo>
                  <a:lnTo>
                    <a:pt x="623" y="27"/>
                  </a:lnTo>
                  <a:cubicBezTo>
                    <a:pt x="580" y="14"/>
                    <a:pt x="538" y="0"/>
                    <a:pt x="491" y="0"/>
                  </a:cubicBezTo>
                  <a:cubicBezTo>
                    <a:pt x="220" y="0"/>
                    <a:pt x="0" y="220"/>
                    <a:pt x="0" y="491"/>
                  </a:cubicBezTo>
                  <a:lnTo>
                    <a:pt x="0" y="19145"/>
                  </a:lnTo>
                  <a:cubicBezTo>
                    <a:pt x="0" y="19370"/>
                    <a:pt x="153" y="19551"/>
                    <a:pt x="359" y="19610"/>
                  </a:cubicBezTo>
                  <a:lnTo>
                    <a:pt x="356" y="19618"/>
                  </a:lnTo>
                  <a:lnTo>
                    <a:pt x="7228" y="21581"/>
                  </a:lnTo>
                  <a:lnTo>
                    <a:pt x="7231" y="21573"/>
                  </a:lnTo>
                  <a:cubicBezTo>
                    <a:pt x="7274" y="21586"/>
                    <a:pt x="7317" y="21600"/>
                    <a:pt x="7364" y="21600"/>
                  </a:cubicBezTo>
                  <a:cubicBezTo>
                    <a:pt x="7411" y="21600"/>
                    <a:pt x="7453" y="21586"/>
                    <a:pt x="7496" y="21573"/>
                  </a:cubicBezTo>
                  <a:lnTo>
                    <a:pt x="7499" y="21581"/>
                  </a:lnTo>
                  <a:lnTo>
                    <a:pt x="14236" y="19656"/>
                  </a:lnTo>
                  <a:lnTo>
                    <a:pt x="20975" y="21581"/>
                  </a:lnTo>
                  <a:lnTo>
                    <a:pt x="20977" y="21573"/>
                  </a:lnTo>
                  <a:cubicBezTo>
                    <a:pt x="21020" y="21586"/>
                    <a:pt x="21062" y="21600"/>
                    <a:pt x="21109" y="21600"/>
                  </a:cubicBezTo>
                  <a:cubicBezTo>
                    <a:pt x="21380" y="21600"/>
                    <a:pt x="21600" y="21380"/>
                    <a:pt x="21600" y="21109"/>
                  </a:cubicBezTo>
                  <a:lnTo>
                    <a:pt x="21600" y="2455"/>
                  </a:lnTo>
                  <a:cubicBezTo>
                    <a:pt x="21600" y="2231"/>
                    <a:pt x="21447" y="2049"/>
                    <a:pt x="21241" y="1990"/>
                  </a:cubicBezTo>
                  <a:moveTo>
                    <a:pt x="16435" y="9275"/>
                  </a:moveTo>
                  <a:lnTo>
                    <a:pt x="16518" y="9374"/>
                  </a:lnTo>
                  <a:lnTo>
                    <a:pt x="17269" y="8740"/>
                  </a:lnTo>
                  <a:lnTo>
                    <a:pt x="17184" y="8640"/>
                  </a:lnTo>
                  <a:cubicBezTo>
                    <a:pt x="17013" y="8438"/>
                    <a:pt x="16840" y="8236"/>
                    <a:pt x="16677" y="8019"/>
                  </a:cubicBezTo>
                  <a:lnTo>
                    <a:pt x="15891" y="8606"/>
                  </a:lnTo>
                  <a:cubicBezTo>
                    <a:pt x="16066" y="8840"/>
                    <a:pt x="16251" y="9059"/>
                    <a:pt x="16435" y="9275"/>
                  </a:cubicBezTo>
                  <a:moveTo>
                    <a:pt x="6270" y="11022"/>
                  </a:moveTo>
                  <a:lnTo>
                    <a:pt x="5739" y="10196"/>
                  </a:lnTo>
                  <a:cubicBezTo>
                    <a:pt x="5432" y="10394"/>
                    <a:pt x="5153" y="10605"/>
                    <a:pt x="4909" y="10825"/>
                  </a:cubicBezTo>
                  <a:lnTo>
                    <a:pt x="5568" y="11554"/>
                  </a:lnTo>
                  <a:cubicBezTo>
                    <a:pt x="5772" y="11370"/>
                    <a:pt x="6008" y="11191"/>
                    <a:pt x="6270" y="11022"/>
                  </a:cubicBezTo>
                  <a:moveTo>
                    <a:pt x="5004" y="12185"/>
                  </a:moveTo>
                  <a:lnTo>
                    <a:pt x="4196" y="11628"/>
                  </a:lnTo>
                  <a:cubicBezTo>
                    <a:pt x="3975" y="11949"/>
                    <a:pt x="3812" y="12288"/>
                    <a:pt x="3713" y="12634"/>
                  </a:cubicBezTo>
                  <a:lnTo>
                    <a:pt x="4656" y="12906"/>
                  </a:lnTo>
                  <a:cubicBezTo>
                    <a:pt x="4727" y="12661"/>
                    <a:pt x="4844" y="12418"/>
                    <a:pt x="5004" y="12185"/>
                  </a:cubicBezTo>
                  <a:moveTo>
                    <a:pt x="10467" y="8318"/>
                  </a:moveTo>
                  <a:lnTo>
                    <a:pt x="9972" y="7470"/>
                  </a:lnTo>
                  <a:cubicBezTo>
                    <a:pt x="9623" y="7674"/>
                    <a:pt x="9362" y="7936"/>
                    <a:pt x="9132" y="8189"/>
                  </a:cubicBezTo>
                  <a:lnTo>
                    <a:pt x="9857" y="8850"/>
                  </a:lnTo>
                  <a:cubicBezTo>
                    <a:pt x="10063" y="8624"/>
                    <a:pt x="10245" y="8448"/>
                    <a:pt x="10467" y="8318"/>
                  </a:cubicBezTo>
                  <a:moveTo>
                    <a:pt x="3927" y="15709"/>
                  </a:moveTo>
                  <a:cubicBezTo>
                    <a:pt x="4469" y="15709"/>
                    <a:pt x="4909" y="15270"/>
                    <a:pt x="4909" y="14727"/>
                  </a:cubicBezTo>
                  <a:cubicBezTo>
                    <a:pt x="4909" y="14185"/>
                    <a:pt x="4469" y="13745"/>
                    <a:pt x="3927" y="13745"/>
                  </a:cubicBezTo>
                  <a:cubicBezTo>
                    <a:pt x="3385" y="13745"/>
                    <a:pt x="2945" y="14185"/>
                    <a:pt x="2945" y="14727"/>
                  </a:cubicBezTo>
                  <a:cubicBezTo>
                    <a:pt x="2945" y="15270"/>
                    <a:pt x="3385" y="15709"/>
                    <a:pt x="3927" y="15709"/>
                  </a:cubicBezTo>
                  <a:moveTo>
                    <a:pt x="12273" y="7855"/>
                  </a:moveTo>
                  <a:cubicBezTo>
                    <a:pt x="12815" y="7855"/>
                    <a:pt x="13255" y="7415"/>
                    <a:pt x="13255" y="6873"/>
                  </a:cubicBezTo>
                  <a:cubicBezTo>
                    <a:pt x="13255" y="6331"/>
                    <a:pt x="12815" y="5891"/>
                    <a:pt x="12273" y="5891"/>
                  </a:cubicBezTo>
                  <a:cubicBezTo>
                    <a:pt x="11730" y="5891"/>
                    <a:pt x="11291" y="6331"/>
                    <a:pt x="11291" y="6873"/>
                  </a:cubicBezTo>
                  <a:cubicBezTo>
                    <a:pt x="11291" y="7415"/>
                    <a:pt x="11730" y="7855"/>
                    <a:pt x="12273" y="7855"/>
                  </a:cubicBezTo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4284" tIns="14284" rIns="14284" bIns="14284" anchor="ctr"/>
            <a:lstStyle/>
            <a:p>
              <a:pPr defTabSz="171399" eaLnBrk="1" hangingPunct="1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Fira Sans"/>
                  <a:ea typeface="Fira Sans"/>
                  <a:cs typeface="Fira Sans"/>
                  <a:sym typeface="Fira Sans"/>
                </a:defRPr>
              </a:pPr>
              <a:endParaRPr sz="1125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 panose="020B0604020202020204" pitchFamily="34" charset="0"/>
                <a:ea typeface="Calibri" charset="0"/>
                <a:cs typeface="Calibri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63" name="Gruppieren 62"/>
          <p:cNvGrpSpPr/>
          <p:nvPr/>
        </p:nvGrpSpPr>
        <p:grpSpPr>
          <a:xfrm>
            <a:off x="736586" y="3452129"/>
            <a:ext cx="5222525" cy="898892"/>
            <a:chOff x="736586" y="3452129"/>
            <a:chExt cx="5222525" cy="898892"/>
          </a:xfrm>
        </p:grpSpPr>
        <p:sp>
          <p:nvSpPr>
            <p:cNvPr id="35" name="Rechteck 34"/>
            <p:cNvSpPr/>
            <p:nvPr/>
          </p:nvSpPr>
          <p:spPr>
            <a:xfrm flipH="1">
              <a:off x="5060213" y="3452129"/>
              <a:ext cx="898898" cy="89889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2" name="Rechteck 41"/>
            <p:cNvSpPr>
              <a:spLocks/>
            </p:cNvSpPr>
            <p:nvPr/>
          </p:nvSpPr>
          <p:spPr>
            <a:xfrm flipH="1">
              <a:off x="736586" y="3452129"/>
              <a:ext cx="4049849" cy="369332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algn="r"/>
              <a:r>
                <a:rPr lang="de-DE" b="1" dirty="0">
                  <a:solidFill>
                    <a:schemeClr val="accent2"/>
                  </a:solidFill>
                  <a:latin typeface="+mj-lt"/>
                </a:rPr>
                <a:t>Marktzugang</a:t>
              </a:r>
            </a:p>
          </p:txBody>
        </p:sp>
        <p:sp>
          <p:nvSpPr>
            <p:cNvPr id="47" name="Rechteck 46"/>
            <p:cNvSpPr>
              <a:spLocks/>
            </p:cNvSpPr>
            <p:nvPr/>
          </p:nvSpPr>
          <p:spPr>
            <a:xfrm flipH="1">
              <a:off x="736586" y="3827801"/>
              <a:ext cx="4049849" cy="523220"/>
            </a:xfrm>
            <a:prstGeom prst="rect">
              <a:avLst/>
            </a:prstGeom>
          </p:spPr>
          <p:txBody>
            <a:bodyPr wrap="square" lIns="91440" tIns="45720" rIns="91440" bIns="45720" anchor="b">
              <a:spAutoFit/>
            </a:bodyPr>
            <a:lstStyle/>
            <a:p>
              <a:pPr algn="r"/>
              <a:r>
                <a:rPr lang="de-DE" sz="1400" dirty="0"/>
                <a:t>Teil sein von </a:t>
              </a:r>
              <a:r>
                <a:rPr lang="de-DE" sz="1400" b="1" dirty="0"/>
                <a:t>Europas</a:t>
              </a:r>
              <a:br>
                <a:rPr lang="de-DE" sz="1400" dirty="0"/>
              </a:br>
              <a:r>
                <a:rPr lang="de-DE" sz="1400" b="1" dirty="0"/>
                <a:t>stärkster Wirtschaftsmacht</a:t>
              </a:r>
            </a:p>
          </p:txBody>
        </p:sp>
        <p:sp>
          <p:nvSpPr>
            <p:cNvPr id="53" name="Shape 2809">
              <a:extLst>
                <a:ext uri="{FF2B5EF4-FFF2-40B4-BE49-F238E27FC236}">
                  <a16:creationId xmlns:a16="http://schemas.microsoft.com/office/drawing/2014/main" id="{9985AD44-1494-44CE-8971-205C2931D856}"/>
                </a:ext>
              </a:extLst>
            </p:cNvPr>
            <p:cNvSpPr/>
            <p:nvPr/>
          </p:nvSpPr>
          <p:spPr>
            <a:xfrm>
              <a:off x="5255521" y="3647436"/>
              <a:ext cx="508282" cy="5082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076" y="14727"/>
                  </a:moveTo>
                  <a:lnTo>
                    <a:pt x="17294" y="12764"/>
                  </a:lnTo>
                  <a:lnTo>
                    <a:pt x="19843" y="12764"/>
                  </a:lnTo>
                  <a:lnTo>
                    <a:pt x="19406" y="14727"/>
                  </a:lnTo>
                  <a:cubicBezTo>
                    <a:pt x="19406" y="14727"/>
                    <a:pt x="17076" y="14727"/>
                    <a:pt x="17076" y="14727"/>
                  </a:cubicBezTo>
                  <a:close/>
                  <a:moveTo>
                    <a:pt x="18752" y="17673"/>
                  </a:moveTo>
                  <a:lnTo>
                    <a:pt x="16748" y="17673"/>
                  </a:lnTo>
                  <a:lnTo>
                    <a:pt x="16967" y="15709"/>
                  </a:lnTo>
                  <a:lnTo>
                    <a:pt x="19188" y="15709"/>
                  </a:lnTo>
                  <a:cubicBezTo>
                    <a:pt x="19188" y="15709"/>
                    <a:pt x="18752" y="17673"/>
                    <a:pt x="18752" y="17673"/>
                  </a:cubicBezTo>
                  <a:close/>
                  <a:moveTo>
                    <a:pt x="17673" y="20618"/>
                  </a:moveTo>
                  <a:cubicBezTo>
                    <a:pt x="17131" y="20618"/>
                    <a:pt x="16691" y="20179"/>
                    <a:pt x="16691" y="19636"/>
                  </a:cubicBezTo>
                  <a:cubicBezTo>
                    <a:pt x="16691" y="19095"/>
                    <a:pt x="17131" y="18655"/>
                    <a:pt x="17673" y="18655"/>
                  </a:cubicBezTo>
                  <a:cubicBezTo>
                    <a:pt x="18215" y="18655"/>
                    <a:pt x="18655" y="19095"/>
                    <a:pt x="18655" y="19636"/>
                  </a:cubicBezTo>
                  <a:cubicBezTo>
                    <a:pt x="18655" y="20179"/>
                    <a:pt x="18215" y="20618"/>
                    <a:pt x="17673" y="20618"/>
                  </a:cubicBezTo>
                  <a:moveTo>
                    <a:pt x="16415" y="11782"/>
                  </a:moveTo>
                  <a:lnTo>
                    <a:pt x="13745" y="11782"/>
                  </a:lnTo>
                  <a:lnTo>
                    <a:pt x="13745" y="9818"/>
                  </a:lnTo>
                  <a:lnTo>
                    <a:pt x="16633" y="9818"/>
                  </a:lnTo>
                  <a:cubicBezTo>
                    <a:pt x="16633" y="9818"/>
                    <a:pt x="16415" y="11782"/>
                    <a:pt x="16415" y="11782"/>
                  </a:cubicBezTo>
                  <a:close/>
                  <a:moveTo>
                    <a:pt x="16088" y="14727"/>
                  </a:moveTo>
                  <a:lnTo>
                    <a:pt x="13745" y="14727"/>
                  </a:lnTo>
                  <a:lnTo>
                    <a:pt x="13745" y="12764"/>
                  </a:lnTo>
                  <a:lnTo>
                    <a:pt x="16306" y="12764"/>
                  </a:lnTo>
                  <a:cubicBezTo>
                    <a:pt x="16306" y="12764"/>
                    <a:pt x="16088" y="14727"/>
                    <a:pt x="16088" y="14727"/>
                  </a:cubicBezTo>
                  <a:close/>
                  <a:moveTo>
                    <a:pt x="15761" y="17673"/>
                  </a:moveTo>
                  <a:lnTo>
                    <a:pt x="13745" y="17673"/>
                  </a:lnTo>
                  <a:lnTo>
                    <a:pt x="13745" y="15709"/>
                  </a:lnTo>
                  <a:lnTo>
                    <a:pt x="15979" y="15709"/>
                  </a:lnTo>
                  <a:cubicBezTo>
                    <a:pt x="15979" y="15709"/>
                    <a:pt x="15761" y="17673"/>
                    <a:pt x="15761" y="17673"/>
                  </a:cubicBezTo>
                  <a:close/>
                  <a:moveTo>
                    <a:pt x="12764" y="11782"/>
                  </a:moveTo>
                  <a:lnTo>
                    <a:pt x="10094" y="11782"/>
                  </a:lnTo>
                  <a:lnTo>
                    <a:pt x="9876" y="9818"/>
                  </a:lnTo>
                  <a:lnTo>
                    <a:pt x="12764" y="9818"/>
                  </a:lnTo>
                  <a:cubicBezTo>
                    <a:pt x="12764" y="9818"/>
                    <a:pt x="12764" y="11782"/>
                    <a:pt x="12764" y="11782"/>
                  </a:cubicBezTo>
                  <a:close/>
                  <a:moveTo>
                    <a:pt x="12764" y="14727"/>
                  </a:moveTo>
                  <a:lnTo>
                    <a:pt x="10421" y="14727"/>
                  </a:lnTo>
                  <a:lnTo>
                    <a:pt x="10203" y="12764"/>
                  </a:lnTo>
                  <a:lnTo>
                    <a:pt x="12764" y="12764"/>
                  </a:lnTo>
                  <a:cubicBezTo>
                    <a:pt x="12764" y="12764"/>
                    <a:pt x="12764" y="14727"/>
                    <a:pt x="12764" y="14727"/>
                  </a:cubicBezTo>
                  <a:close/>
                  <a:moveTo>
                    <a:pt x="12764" y="17673"/>
                  </a:moveTo>
                  <a:lnTo>
                    <a:pt x="10748" y="17673"/>
                  </a:lnTo>
                  <a:lnTo>
                    <a:pt x="10531" y="15709"/>
                  </a:lnTo>
                  <a:lnTo>
                    <a:pt x="12764" y="15709"/>
                  </a:lnTo>
                  <a:cubicBezTo>
                    <a:pt x="12764" y="15709"/>
                    <a:pt x="12764" y="17673"/>
                    <a:pt x="12764" y="17673"/>
                  </a:cubicBezTo>
                  <a:close/>
                  <a:moveTo>
                    <a:pt x="8836" y="20618"/>
                  </a:moveTo>
                  <a:cubicBezTo>
                    <a:pt x="8294" y="20618"/>
                    <a:pt x="7855" y="20179"/>
                    <a:pt x="7855" y="19636"/>
                  </a:cubicBezTo>
                  <a:cubicBezTo>
                    <a:pt x="7855" y="19095"/>
                    <a:pt x="8294" y="18655"/>
                    <a:pt x="8836" y="18655"/>
                  </a:cubicBezTo>
                  <a:cubicBezTo>
                    <a:pt x="9379" y="18655"/>
                    <a:pt x="9818" y="19095"/>
                    <a:pt x="9818" y="19636"/>
                  </a:cubicBezTo>
                  <a:cubicBezTo>
                    <a:pt x="9818" y="20179"/>
                    <a:pt x="9379" y="20618"/>
                    <a:pt x="8836" y="20618"/>
                  </a:cubicBezTo>
                  <a:moveTo>
                    <a:pt x="7213" y="15709"/>
                  </a:moveTo>
                  <a:lnTo>
                    <a:pt x="9543" y="15709"/>
                  </a:lnTo>
                  <a:lnTo>
                    <a:pt x="9761" y="17673"/>
                  </a:lnTo>
                  <a:lnTo>
                    <a:pt x="7740" y="17673"/>
                  </a:lnTo>
                  <a:cubicBezTo>
                    <a:pt x="7740" y="17673"/>
                    <a:pt x="7213" y="15709"/>
                    <a:pt x="7213" y="15709"/>
                  </a:cubicBezTo>
                  <a:close/>
                  <a:moveTo>
                    <a:pt x="6950" y="14727"/>
                  </a:moveTo>
                  <a:lnTo>
                    <a:pt x="6423" y="12764"/>
                  </a:lnTo>
                  <a:lnTo>
                    <a:pt x="9215" y="12764"/>
                  </a:lnTo>
                  <a:lnTo>
                    <a:pt x="9434" y="14727"/>
                  </a:lnTo>
                  <a:cubicBezTo>
                    <a:pt x="9434" y="14727"/>
                    <a:pt x="6950" y="14727"/>
                    <a:pt x="6950" y="14727"/>
                  </a:cubicBezTo>
                  <a:close/>
                  <a:moveTo>
                    <a:pt x="5633" y="9818"/>
                  </a:moveTo>
                  <a:lnTo>
                    <a:pt x="8888" y="9818"/>
                  </a:lnTo>
                  <a:lnTo>
                    <a:pt x="9106" y="11782"/>
                  </a:lnTo>
                  <a:lnTo>
                    <a:pt x="6160" y="11782"/>
                  </a:lnTo>
                  <a:cubicBezTo>
                    <a:pt x="6160" y="11782"/>
                    <a:pt x="5633" y="9818"/>
                    <a:pt x="5633" y="9818"/>
                  </a:cubicBezTo>
                  <a:close/>
                  <a:moveTo>
                    <a:pt x="17621" y="9818"/>
                  </a:moveTo>
                  <a:lnTo>
                    <a:pt x="20497" y="9818"/>
                  </a:lnTo>
                  <a:lnTo>
                    <a:pt x="20061" y="11782"/>
                  </a:lnTo>
                  <a:lnTo>
                    <a:pt x="17403" y="11782"/>
                  </a:lnTo>
                  <a:cubicBezTo>
                    <a:pt x="17403" y="11782"/>
                    <a:pt x="17621" y="9818"/>
                    <a:pt x="17621" y="9818"/>
                  </a:cubicBezTo>
                  <a:close/>
                  <a:moveTo>
                    <a:pt x="19619" y="18282"/>
                  </a:moveTo>
                  <a:lnTo>
                    <a:pt x="19622" y="18283"/>
                  </a:lnTo>
                  <a:lnTo>
                    <a:pt x="21585" y="9447"/>
                  </a:lnTo>
                  <a:lnTo>
                    <a:pt x="21577" y="9444"/>
                  </a:lnTo>
                  <a:cubicBezTo>
                    <a:pt x="21587" y="9406"/>
                    <a:pt x="21600" y="9369"/>
                    <a:pt x="21600" y="9327"/>
                  </a:cubicBezTo>
                  <a:cubicBezTo>
                    <a:pt x="21600" y="9056"/>
                    <a:pt x="21380" y="8836"/>
                    <a:pt x="21109" y="8836"/>
                  </a:cubicBezTo>
                  <a:lnTo>
                    <a:pt x="5370" y="8836"/>
                  </a:lnTo>
                  <a:lnTo>
                    <a:pt x="4674" y="6241"/>
                  </a:lnTo>
                  <a:lnTo>
                    <a:pt x="4667" y="6243"/>
                  </a:lnTo>
                  <a:cubicBezTo>
                    <a:pt x="4605" y="6041"/>
                    <a:pt x="4425" y="5891"/>
                    <a:pt x="4203" y="5891"/>
                  </a:cubicBezTo>
                  <a:lnTo>
                    <a:pt x="491" y="5891"/>
                  </a:lnTo>
                  <a:cubicBezTo>
                    <a:pt x="220" y="5891"/>
                    <a:pt x="0" y="6110"/>
                    <a:pt x="0" y="6382"/>
                  </a:cubicBezTo>
                  <a:cubicBezTo>
                    <a:pt x="0" y="6653"/>
                    <a:pt x="220" y="6873"/>
                    <a:pt x="491" y="6873"/>
                  </a:cubicBezTo>
                  <a:lnTo>
                    <a:pt x="3827" y="6873"/>
                  </a:lnTo>
                  <a:lnTo>
                    <a:pt x="6893" y="18305"/>
                  </a:lnTo>
                  <a:lnTo>
                    <a:pt x="6894" y="18305"/>
                  </a:lnTo>
                  <a:cubicBezTo>
                    <a:pt x="6936" y="18443"/>
                    <a:pt x="7037" y="18555"/>
                    <a:pt x="7168" y="18613"/>
                  </a:cubicBezTo>
                  <a:cubicBezTo>
                    <a:pt x="6984" y="18912"/>
                    <a:pt x="6873" y="19260"/>
                    <a:pt x="6873" y="19636"/>
                  </a:cubicBezTo>
                  <a:cubicBezTo>
                    <a:pt x="6873" y="20721"/>
                    <a:pt x="7752" y="21600"/>
                    <a:pt x="8836" y="21600"/>
                  </a:cubicBezTo>
                  <a:cubicBezTo>
                    <a:pt x="9921" y="21600"/>
                    <a:pt x="10800" y="20721"/>
                    <a:pt x="10800" y="19636"/>
                  </a:cubicBezTo>
                  <a:cubicBezTo>
                    <a:pt x="10800" y="19277"/>
                    <a:pt x="10696" y="18945"/>
                    <a:pt x="10528" y="18655"/>
                  </a:cubicBezTo>
                  <a:lnTo>
                    <a:pt x="15981" y="18655"/>
                  </a:lnTo>
                  <a:cubicBezTo>
                    <a:pt x="15813" y="18945"/>
                    <a:pt x="15709" y="19277"/>
                    <a:pt x="15709" y="19636"/>
                  </a:cubicBezTo>
                  <a:cubicBezTo>
                    <a:pt x="15709" y="20721"/>
                    <a:pt x="16588" y="21600"/>
                    <a:pt x="17673" y="21600"/>
                  </a:cubicBezTo>
                  <a:cubicBezTo>
                    <a:pt x="18757" y="21600"/>
                    <a:pt x="19636" y="20721"/>
                    <a:pt x="19636" y="19636"/>
                  </a:cubicBezTo>
                  <a:cubicBezTo>
                    <a:pt x="19636" y="19260"/>
                    <a:pt x="19525" y="18912"/>
                    <a:pt x="19342" y="18613"/>
                  </a:cubicBezTo>
                  <a:cubicBezTo>
                    <a:pt x="19479" y="18552"/>
                    <a:pt x="19581" y="18430"/>
                    <a:pt x="19619" y="18282"/>
                  </a:cubicBezTo>
                  <a:moveTo>
                    <a:pt x="11291" y="2945"/>
                  </a:moveTo>
                  <a:cubicBezTo>
                    <a:pt x="11427" y="2945"/>
                    <a:pt x="11549" y="2891"/>
                    <a:pt x="11638" y="2802"/>
                  </a:cubicBezTo>
                  <a:lnTo>
                    <a:pt x="12764" y="1676"/>
                  </a:lnTo>
                  <a:lnTo>
                    <a:pt x="12764" y="7364"/>
                  </a:lnTo>
                  <a:cubicBezTo>
                    <a:pt x="12764" y="7634"/>
                    <a:pt x="12983" y="7855"/>
                    <a:pt x="13255" y="7855"/>
                  </a:cubicBezTo>
                  <a:cubicBezTo>
                    <a:pt x="13526" y="7855"/>
                    <a:pt x="13745" y="7634"/>
                    <a:pt x="13745" y="7364"/>
                  </a:cubicBezTo>
                  <a:lnTo>
                    <a:pt x="13745" y="1676"/>
                  </a:lnTo>
                  <a:lnTo>
                    <a:pt x="14871" y="2802"/>
                  </a:lnTo>
                  <a:cubicBezTo>
                    <a:pt x="14959" y="2891"/>
                    <a:pt x="15082" y="2945"/>
                    <a:pt x="15218" y="2945"/>
                  </a:cubicBezTo>
                  <a:cubicBezTo>
                    <a:pt x="15490" y="2945"/>
                    <a:pt x="15709" y="2726"/>
                    <a:pt x="15709" y="2455"/>
                  </a:cubicBezTo>
                  <a:cubicBezTo>
                    <a:pt x="15709" y="2319"/>
                    <a:pt x="15654" y="2196"/>
                    <a:pt x="15565" y="2107"/>
                  </a:cubicBezTo>
                  <a:lnTo>
                    <a:pt x="13602" y="144"/>
                  </a:lnTo>
                  <a:cubicBezTo>
                    <a:pt x="13513" y="55"/>
                    <a:pt x="13390" y="0"/>
                    <a:pt x="13255" y="0"/>
                  </a:cubicBezTo>
                  <a:cubicBezTo>
                    <a:pt x="13118" y="0"/>
                    <a:pt x="12996" y="55"/>
                    <a:pt x="12907" y="144"/>
                  </a:cubicBezTo>
                  <a:lnTo>
                    <a:pt x="10944" y="2107"/>
                  </a:lnTo>
                  <a:cubicBezTo>
                    <a:pt x="10855" y="2196"/>
                    <a:pt x="10800" y="2319"/>
                    <a:pt x="10800" y="2455"/>
                  </a:cubicBezTo>
                  <a:cubicBezTo>
                    <a:pt x="10800" y="2726"/>
                    <a:pt x="11020" y="2945"/>
                    <a:pt x="11291" y="2945"/>
                  </a:cubicBezTo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4284" tIns="14284" rIns="14284" bIns="14284" anchor="ctr"/>
            <a:lstStyle/>
            <a:p>
              <a:pPr defTabSz="171399" eaLnBrk="1" hangingPunct="1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Fira Sans"/>
                  <a:ea typeface="Fira Sans"/>
                  <a:cs typeface="Fira Sans"/>
                  <a:sym typeface="Fira Sans"/>
                </a:defRPr>
              </a:pPr>
              <a:endParaRPr sz="1125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 panose="020B0604020202020204" pitchFamily="34" charset="0"/>
                <a:ea typeface="Calibri" charset="0"/>
                <a:cs typeface="Calibri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64" name="Gruppieren 63"/>
          <p:cNvGrpSpPr/>
          <p:nvPr/>
        </p:nvGrpSpPr>
        <p:grpSpPr>
          <a:xfrm>
            <a:off x="736586" y="4834364"/>
            <a:ext cx="5222525" cy="898892"/>
            <a:chOff x="736586" y="4834364"/>
            <a:chExt cx="5222525" cy="898892"/>
          </a:xfrm>
        </p:grpSpPr>
        <p:sp>
          <p:nvSpPr>
            <p:cNvPr id="36" name="Rechteck 35"/>
            <p:cNvSpPr/>
            <p:nvPr/>
          </p:nvSpPr>
          <p:spPr>
            <a:xfrm flipH="1">
              <a:off x="5060213" y="4834364"/>
              <a:ext cx="898898" cy="89889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3" name="Rechteck 42"/>
            <p:cNvSpPr>
              <a:spLocks/>
            </p:cNvSpPr>
            <p:nvPr/>
          </p:nvSpPr>
          <p:spPr>
            <a:xfrm flipH="1">
              <a:off x="736586" y="4834364"/>
              <a:ext cx="4049849" cy="369332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algn="r"/>
              <a:r>
                <a:rPr lang="de-DE" b="1" dirty="0">
                  <a:solidFill>
                    <a:schemeClr val="accent3"/>
                  </a:solidFill>
                  <a:latin typeface="+mj-lt"/>
                </a:rPr>
                <a:t>Made in Germany </a:t>
              </a:r>
            </a:p>
          </p:txBody>
        </p:sp>
        <p:sp>
          <p:nvSpPr>
            <p:cNvPr id="48" name="Rechteck 47"/>
            <p:cNvSpPr>
              <a:spLocks/>
            </p:cNvSpPr>
            <p:nvPr/>
          </p:nvSpPr>
          <p:spPr>
            <a:xfrm flipH="1">
              <a:off x="736586" y="5210036"/>
              <a:ext cx="4049849" cy="523220"/>
            </a:xfrm>
            <a:prstGeom prst="rect">
              <a:avLst/>
            </a:prstGeom>
          </p:spPr>
          <p:txBody>
            <a:bodyPr wrap="square" lIns="91440" tIns="45720" rIns="91440" bIns="45720" anchor="b">
              <a:spAutoFit/>
            </a:bodyPr>
            <a:lstStyle/>
            <a:p>
              <a:pPr algn="r"/>
              <a:r>
                <a:rPr lang="de-DE" sz="1400" dirty="0"/>
                <a:t>Profitieren von</a:t>
              </a:r>
              <a:br>
                <a:rPr lang="de-DE" sz="1400" dirty="0"/>
              </a:br>
              <a:r>
                <a:rPr lang="de-DE" sz="1400" b="1" dirty="0"/>
                <a:t>starken Industrieclustern</a:t>
              </a:r>
            </a:p>
          </p:txBody>
        </p:sp>
        <p:sp>
          <p:nvSpPr>
            <p:cNvPr id="54" name="Shape 2670">
              <a:extLst>
                <a:ext uri="{FF2B5EF4-FFF2-40B4-BE49-F238E27FC236}">
                  <a16:creationId xmlns:a16="http://schemas.microsoft.com/office/drawing/2014/main" id="{CB49AB32-1E84-4C3F-9FDC-5FD6630F9D04}"/>
                </a:ext>
              </a:extLst>
            </p:cNvPr>
            <p:cNvSpPr/>
            <p:nvPr/>
          </p:nvSpPr>
          <p:spPr>
            <a:xfrm>
              <a:off x="5276070" y="5113925"/>
              <a:ext cx="467184" cy="33977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273" y="21600"/>
                  </a:moveTo>
                  <a:lnTo>
                    <a:pt x="13255" y="21600"/>
                  </a:lnTo>
                  <a:lnTo>
                    <a:pt x="13255" y="0"/>
                  </a:lnTo>
                  <a:lnTo>
                    <a:pt x="12273" y="0"/>
                  </a:lnTo>
                  <a:cubicBezTo>
                    <a:pt x="12273" y="0"/>
                    <a:pt x="12273" y="21600"/>
                    <a:pt x="12273" y="21600"/>
                  </a:cubicBezTo>
                  <a:close/>
                  <a:moveTo>
                    <a:pt x="14236" y="21600"/>
                  </a:moveTo>
                  <a:lnTo>
                    <a:pt x="16691" y="21600"/>
                  </a:lnTo>
                  <a:lnTo>
                    <a:pt x="16691" y="0"/>
                  </a:lnTo>
                  <a:lnTo>
                    <a:pt x="14236" y="0"/>
                  </a:lnTo>
                  <a:cubicBezTo>
                    <a:pt x="14236" y="0"/>
                    <a:pt x="14236" y="21600"/>
                    <a:pt x="14236" y="21600"/>
                  </a:cubicBezTo>
                  <a:close/>
                  <a:moveTo>
                    <a:pt x="17673" y="21600"/>
                  </a:moveTo>
                  <a:lnTo>
                    <a:pt x="18655" y="21600"/>
                  </a:lnTo>
                  <a:lnTo>
                    <a:pt x="18655" y="0"/>
                  </a:lnTo>
                  <a:lnTo>
                    <a:pt x="17673" y="0"/>
                  </a:lnTo>
                  <a:cubicBezTo>
                    <a:pt x="17673" y="0"/>
                    <a:pt x="17673" y="21600"/>
                    <a:pt x="17673" y="21600"/>
                  </a:cubicBezTo>
                  <a:close/>
                  <a:moveTo>
                    <a:pt x="20618" y="0"/>
                  </a:moveTo>
                  <a:lnTo>
                    <a:pt x="19636" y="0"/>
                  </a:lnTo>
                  <a:lnTo>
                    <a:pt x="19636" y="21600"/>
                  </a:lnTo>
                  <a:lnTo>
                    <a:pt x="20618" y="21600"/>
                  </a:lnTo>
                  <a:cubicBezTo>
                    <a:pt x="21160" y="21600"/>
                    <a:pt x="21600" y="20996"/>
                    <a:pt x="21600" y="20250"/>
                  </a:cubicBezTo>
                  <a:lnTo>
                    <a:pt x="21600" y="1350"/>
                  </a:lnTo>
                  <a:cubicBezTo>
                    <a:pt x="21600" y="605"/>
                    <a:pt x="21160" y="0"/>
                    <a:pt x="20618" y="0"/>
                  </a:cubicBezTo>
                  <a:moveTo>
                    <a:pt x="4909" y="21600"/>
                  </a:moveTo>
                  <a:lnTo>
                    <a:pt x="5891" y="21600"/>
                  </a:lnTo>
                  <a:lnTo>
                    <a:pt x="5891" y="0"/>
                  </a:lnTo>
                  <a:lnTo>
                    <a:pt x="4909" y="0"/>
                  </a:lnTo>
                  <a:cubicBezTo>
                    <a:pt x="4909" y="0"/>
                    <a:pt x="4909" y="21600"/>
                    <a:pt x="4909" y="21600"/>
                  </a:cubicBezTo>
                  <a:close/>
                  <a:moveTo>
                    <a:pt x="0" y="1350"/>
                  </a:moveTo>
                  <a:lnTo>
                    <a:pt x="0" y="20250"/>
                  </a:lnTo>
                  <a:cubicBezTo>
                    <a:pt x="0" y="20996"/>
                    <a:pt x="440" y="21600"/>
                    <a:pt x="982" y="21600"/>
                  </a:cubicBezTo>
                  <a:lnTo>
                    <a:pt x="982" y="0"/>
                  </a:lnTo>
                  <a:cubicBezTo>
                    <a:pt x="440" y="0"/>
                    <a:pt x="0" y="605"/>
                    <a:pt x="0" y="1350"/>
                  </a:cubicBezTo>
                  <a:moveTo>
                    <a:pt x="1964" y="21600"/>
                  </a:moveTo>
                  <a:lnTo>
                    <a:pt x="3927" y="21600"/>
                  </a:lnTo>
                  <a:lnTo>
                    <a:pt x="3927" y="0"/>
                  </a:lnTo>
                  <a:lnTo>
                    <a:pt x="1964" y="0"/>
                  </a:lnTo>
                  <a:cubicBezTo>
                    <a:pt x="1964" y="0"/>
                    <a:pt x="1964" y="21600"/>
                    <a:pt x="1964" y="21600"/>
                  </a:cubicBezTo>
                  <a:close/>
                  <a:moveTo>
                    <a:pt x="6873" y="21600"/>
                  </a:moveTo>
                  <a:lnTo>
                    <a:pt x="9327" y="21600"/>
                  </a:lnTo>
                  <a:lnTo>
                    <a:pt x="9327" y="0"/>
                  </a:lnTo>
                  <a:lnTo>
                    <a:pt x="6873" y="0"/>
                  </a:lnTo>
                  <a:cubicBezTo>
                    <a:pt x="6873" y="0"/>
                    <a:pt x="6873" y="21600"/>
                    <a:pt x="6873" y="21600"/>
                  </a:cubicBezTo>
                  <a:close/>
                  <a:moveTo>
                    <a:pt x="10309" y="21600"/>
                  </a:moveTo>
                  <a:lnTo>
                    <a:pt x="11291" y="21600"/>
                  </a:lnTo>
                  <a:lnTo>
                    <a:pt x="11291" y="0"/>
                  </a:lnTo>
                  <a:lnTo>
                    <a:pt x="10309" y="0"/>
                  </a:lnTo>
                  <a:cubicBezTo>
                    <a:pt x="10309" y="0"/>
                    <a:pt x="10309" y="21600"/>
                    <a:pt x="10309" y="2160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4284" tIns="14284" rIns="14284" bIns="14284" anchor="ctr"/>
            <a:lstStyle/>
            <a:p>
              <a:pPr defTabSz="171399" eaLnBrk="1" hangingPunct="1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Fira Sans"/>
                  <a:ea typeface="Fira Sans"/>
                  <a:cs typeface="Fira Sans"/>
                  <a:sym typeface="Fira Sans"/>
                </a:defRPr>
              </a:pPr>
              <a:endParaRPr sz="1125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 panose="020B0604020202020204" pitchFamily="34" charset="0"/>
                <a:ea typeface="Calibri" charset="0"/>
                <a:cs typeface="Calibri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65" name="Gruppieren 64"/>
          <p:cNvGrpSpPr/>
          <p:nvPr/>
        </p:nvGrpSpPr>
        <p:grpSpPr>
          <a:xfrm>
            <a:off x="6232889" y="2069895"/>
            <a:ext cx="5227274" cy="898892"/>
            <a:chOff x="6232889" y="2069895"/>
            <a:chExt cx="5227274" cy="898892"/>
          </a:xfrm>
        </p:grpSpPr>
        <p:sp>
          <p:nvSpPr>
            <p:cNvPr id="37" name="Rechteck 36"/>
            <p:cNvSpPr/>
            <p:nvPr/>
          </p:nvSpPr>
          <p:spPr>
            <a:xfrm flipH="1">
              <a:off x="6232889" y="2069895"/>
              <a:ext cx="898898" cy="89889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4" name="Rechteck 43"/>
            <p:cNvSpPr>
              <a:spLocks/>
            </p:cNvSpPr>
            <p:nvPr/>
          </p:nvSpPr>
          <p:spPr>
            <a:xfrm flipH="1">
              <a:off x="7405565" y="2069895"/>
              <a:ext cx="4054598" cy="369332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r>
                <a:rPr lang="de-DE" b="1" dirty="0">
                  <a:solidFill>
                    <a:schemeClr val="tx2"/>
                  </a:solidFill>
                  <a:latin typeface="+mj-lt"/>
                </a:rPr>
                <a:t>Innovation</a:t>
              </a:r>
            </a:p>
          </p:txBody>
        </p:sp>
        <p:sp>
          <p:nvSpPr>
            <p:cNvPr id="49" name="Rechteck 48"/>
            <p:cNvSpPr>
              <a:spLocks/>
            </p:cNvSpPr>
            <p:nvPr/>
          </p:nvSpPr>
          <p:spPr>
            <a:xfrm flipH="1">
              <a:off x="7405565" y="2445567"/>
              <a:ext cx="4054598" cy="523220"/>
            </a:xfrm>
            <a:prstGeom prst="rect">
              <a:avLst/>
            </a:prstGeom>
          </p:spPr>
          <p:txBody>
            <a:bodyPr wrap="square" lIns="91440" tIns="45720" rIns="91440" bIns="45720" anchor="b">
              <a:spAutoFit/>
            </a:bodyPr>
            <a:lstStyle/>
            <a:p>
              <a:r>
                <a:rPr lang="de-DE" sz="1400" b="1" dirty="0"/>
                <a:t>Hochklassige</a:t>
              </a:r>
              <a:br>
                <a:rPr lang="de-DE" sz="1400" b="1" dirty="0"/>
              </a:br>
              <a:r>
                <a:rPr lang="de-DE" sz="1400" b="1" dirty="0"/>
                <a:t>F&amp;E-Infrastruktur</a:t>
              </a:r>
            </a:p>
          </p:txBody>
        </p:sp>
        <p:grpSp>
          <p:nvGrpSpPr>
            <p:cNvPr id="56" name="Group 168">
              <a:extLst>
                <a:ext uri="{FF2B5EF4-FFF2-40B4-BE49-F238E27FC236}">
                  <a16:creationId xmlns:a16="http://schemas.microsoft.com/office/drawing/2014/main" id="{83C91B49-EF45-4E5D-A2F7-12CE2BBFB216}"/>
                </a:ext>
              </a:extLst>
            </p:cNvPr>
            <p:cNvGrpSpPr/>
            <p:nvPr/>
          </p:nvGrpSpPr>
          <p:grpSpPr>
            <a:xfrm>
              <a:off x="6506026" y="2262785"/>
              <a:ext cx="352623" cy="513113"/>
              <a:chOff x="4075113" y="1909763"/>
              <a:chExt cx="247650" cy="360363"/>
            </a:xfrm>
            <a:solidFill>
              <a:srgbClr val="FFFFFF"/>
            </a:solidFill>
          </p:grpSpPr>
          <p:sp>
            <p:nvSpPr>
              <p:cNvPr id="57" name="Freeform 78">
                <a:extLst>
                  <a:ext uri="{FF2B5EF4-FFF2-40B4-BE49-F238E27FC236}">
                    <a16:creationId xmlns:a16="http://schemas.microsoft.com/office/drawing/2014/main" id="{2863F830-CCE8-45E3-9B91-0CD46DB3035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75113" y="1909763"/>
                <a:ext cx="247650" cy="360363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0" y="42"/>
                  </a:cxn>
                  <a:cxn ang="0">
                    <a:pos x="19" y="88"/>
                  </a:cxn>
                  <a:cxn ang="0">
                    <a:pos x="42" y="123"/>
                  </a:cxn>
                  <a:cxn ang="0">
                    <a:pos x="65" y="88"/>
                  </a:cxn>
                  <a:cxn ang="0">
                    <a:pos x="85" y="42"/>
                  </a:cxn>
                  <a:cxn ang="0">
                    <a:pos x="42" y="0"/>
                  </a:cxn>
                  <a:cxn ang="0">
                    <a:pos x="52" y="104"/>
                  </a:cxn>
                  <a:cxn ang="0">
                    <a:pos x="33" y="106"/>
                  </a:cxn>
                  <a:cxn ang="0">
                    <a:pos x="31" y="99"/>
                  </a:cxn>
                  <a:cxn ang="0">
                    <a:pos x="31" y="99"/>
                  </a:cxn>
                  <a:cxn ang="0">
                    <a:pos x="55" y="96"/>
                  </a:cxn>
                  <a:cxn ang="0">
                    <a:pos x="54" y="99"/>
                  </a:cxn>
                  <a:cxn ang="0">
                    <a:pos x="52" y="104"/>
                  </a:cxn>
                  <a:cxn ang="0">
                    <a:pos x="30" y="95"/>
                  </a:cxn>
                  <a:cxn ang="0">
                    <a:pos x="27" y="88"/>
                  </a:cxn>
                  <a:cxn ang="0">
                    <a:pos x="57" y="88"/>
                  </a:cxn>
                  <a:cxn ang="0">
                    <a:pos x="56" y="92"/>
                  </a:cxn>
                  <a:cxn ang="0">
                    <a:pos x="30" y="95"/>
                  </a:cxn>
                  <a:cxn ang="0">
                    <a:pos x="42" y="115"/>
                  </a:cxn>
                  <a:cxn ang="0">
                    <a:pos x="35" y="110"/>
                  </a:cxn>
                  <a:cxn ang="0">
                    <a:pos x="51" y="108"/>
                  </a:cxn>
                  <a:cxn ang="0">
                    <a:pos x="42" y="115"/>
                  </a:cxn>
                  <a:cxn ang="0">
                    <a:pos x="60" y="80"/>
                  </a:cxn>
                  <a:cxn ang="0">
                    <a:pos x="24" y="80"/>
                  </a:cxn>
                  <a:cxn ang="0">
                    <a:pos x="18" y="68"/>
                  </a:cxn>
                  <a:cxn ang="0">
                    <a:pos x="8" y="42"/>
                  </a:cxn>
                  <a:cxn ang="0">
                    <a:pos x="42" y="8"/>
                  </a:cxn>
                  <a:cxn ang="0">
                    <a:pos x="77" y="42"/>
                  </a:cxn>
                  <a:cxn ang="0">
                    <a:pos x="67" y="68"/>
                  </a:cxn>
                  <a:cxn ang="0">
                    <a:pos x="60" y="80"/>
                  </a:cxn>
                  <a:cxn ang="0">
                    <a:pos x="60" y="80"/>
                  </a:cxn>
                  <a:cxn ang="0">
                    <a:pos x="60" y="80"/>
                  </a:cxn>
                </a:cxnLst>
                <a:rect l="0" t="0" r="r" b="b"/>
                <a:pathLst>
                  <a:path w="85" h="123">
                    <a:moveTo>
                      <a:pt x="42" y="0"/>
                    </a:moveTo>
                    <a:cubicBezTo>
                      <a:pt x="19" y="0"/>
                      <a:pt x="0" y="19"/>
                      <a:pt x="0" y="42"/>
                    </a:cubicBezTo>
                    <a:cubicBezTo>
                      <a:pt x="0" y="57"/>
                      <a:pt x="14" y="74"/>
                      <a:pt x="19" y="88"/>
                    </a:cubicBezTo>
                    <a:cubicBezTo>
                      <a:pt x="27" y="110"/>
                      <a:pt x="26" y="123"/>
                      <a:pt x="42" y="123"/>
                    </a:cubicBezTo>
                    <a:cubicBezTo>
                      <a:pt x="59" y="123"/>
                      <a:pt x="58" y="110"/>
                      <a:pt x="65" y="88"/>
                    </a:cubicBezTo>
                    <a:cubicBezTo>
                      <a:pt x="70" y="74"/>
                      <a:pt x="85" y="57"/>
                      <a:pt x="85" y="42"/>
                    </a:cubicBezTo>
                    <a:cubicBezTo>
                      <a:pt x="85" y="19"/>
                      <a:pt x="66" y="0"/>
                      <a:pt x="42" y="0"/>
                    </a:cubicBezTo>
                    <a:close/>
                    <a:moveTo>
                      <a:pt x="52" y="104"/>
                    </a:moveTo>
                    <a:cubicBezTo>
                      <a:pt x="33" y="106"/>
                      <a:pt x="33" y="106"/>
                      <a:pt x="33" y="106"/>
                    </a:cubicBezTo>
                    <a:cubicBezTo>
                      <a:pt x="33" y="104"/>
                      <a:pt x="32" y="102"/>
                      <a:pt x="31" y="99"/>
                    </a:cubicBezTo>
                    <a:cubicBezTo>
                      <a:pt x="31" y="99"/>
                      <a:pt x="31" y="99"/>
                      <a:pt x="31" y="99"/>
                    </a:cubicBezTo>
                    <a:cubicBezTo>
                      <a:pt x="55" y="96"/>
                      <a:pt x="55" y="96"/>
                      <a:pt x="55" y="96"/>
                    </a:cubicBezTo>
                    <a:cubicBezTo>
                      <a:pt x="54" y="97"/>
                      <a:pt x="54" y="98"/>
                      <a:pt x="54" y="99"/>
                    </a:cubicBezTo>
                    <a:cubicBezTo>
                      <a:pt x="53" y="101"/>
                      <a:pt x="53" y="103"/>
                      <a:pt x="52" y="104"/>
                    </a:cubicBezTo>
                    <a:close/>
                    <a:moveTo>
                      <a:pt x="30" y="95"/>
                    </a:moveTo>
                    <a:cubicBezTo>
                      <a:pt x="29" y="93"/>
                      <a:pt x="28" y="91"/>
                      <a:pt x="27" y="88"/>
                    </a:cubicBezTo>
                    <a:cubicBezTo>
                      <a:pt x="57" y="88"/>
                      <a:pt x="57" y="88"/>
                      <a:pt x="57" y="88"/>
                    </a:cubicBezTo>
                    <a:cubicBezTo>
                      <a:pt x="57" y="89"/>
                      <a:pt x="56" y="91"/>
                      <a:pt x="56" y="92"/>
                    </a:cubicBezTo>
                    <a:lnTo>
                      <a:pt x="30" y="95"/>
                    </a:lnTo>
                    <a:close/>
                    <a:moveTo>
                      <a:pt x="42" y="115"/>
                    </a:moveTo>
                    <a:cubicBezTo>
                      <a:pt x="38" y="115"/>
                      <a:pt x="37" y="114"/>
                      <a:pt x="35" y="110"/>
                    </a:cubicBezTo>
                    <a:cubicBezTo>
                      <a:pt x="51" y="108"/>
                      <a:pt x="51" y="108"/>
                      <a:pt x="51" y="108"/>
                    </a:cubicBezTo>
                    <a:cubicBezTo>
                      <a:pt x="49" y="114"/>
                      <a:pt x="47" y="115"/>
                      <a:pt x="42" y="115"/>
                    </a:cubicBezTo>
                    <a:close/>
                    <a:moveTo>
                      <a:pt x="60" y="80"/>
                    </a:moveTo>
                    <a:cubicBezTo>
                      <a:pt x="24" y="80"/>
                      <a:pt x="24" y="80"/>
                      <a:pt x="24" y="80"/>
                    </a:cubicBezTo>
                    <a:cubicBezTo>
                      <a:pt x="23" y="76"/>
                      <a:pt x="20" y="72"/>
                      <a:pt x="18" y="68"/>
                    </a:cubicBezTo>
                    <a:cubicBezTo>
                      <a:pt x="13" y="59"/>
                      <a:pt x="8" y="50"/>
                      <a:pt x="8" y="42"/>
                    </a:cubicBezTo>
                    <a:cubicBezTo>
                      <a:pt x="8" y="23"/>
                      <a:pt x="23" y="8"/>
                      <a:pt x="42" y="8"/>
                    </a:cubicBezTo>
                    <a:cubicBezTo>
                      <a:pt x="61" y="8"/>
                      <a:pt x="77" y="23"/>
                      <a:pt x="77" y="42"/>
                    </a:cubicBezTo>
                    <a:cubicBezTo>
                      <a:pt x="77" y="50"/>
                      <a:pt x="72" y="59"/>
                      <a:pt x="67" y="68"/>
                    </a:cubicBezTo>
                    <a:cubicBezTo>
                      <a:pt x="64" y="72"/>
                      <a:pt x="62" y="76"/>
                      <a:pt x="60" y="80"/>
                    </a:cubicBezTo>
                    <a:close/>
                    <a:moveTo>
                      <a:pt x="60" y="80"/>
                    </a:moveTo>
                    <a:cubicBezTo>
                      <a:pt x="60" y="80"/>
                      <a:pt x="60" y="80"/>
                      <a:pt x="60" y="8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  <a:ea typeface="+mn-ea"/>
                </a:endParaRPr>
              </a:p>
            </p:txBody>
          </p:sp>
          <p:sp>
            <p:nvSpPr>
              <p:cNvPr id="58" name="Freeform 79">
                <a:extLst>
                  <a:ext uri="{FF2B5EF4-FFF2-40B4-BE49-F238E27FC236}">
                    <a16:creationId xmlns:a16="http://schemas.microsoft.com/office/drawing/2014/main" id="{5B0E34FA-CCCF-4D8D-9802-FF7ED6816B0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30675" y="1965326"/>
                <a:ext cx="73025" cy="73025"/>
              </a:xfrm>
              <a:custGeom>
                <a:avLst/>
                <a:gdLst/>
                <a:ahLst/>
                <a:cxnLst>
                  <a:cxn ang="0">
                    <a:pos x="23" y="0"/>
                  </a:cxn>
                  <a:cxn ang="0">
                    <a:pos x="0" y="23"/>
                  </a:cxn>
                  <a:cxn ang="0">
                    <a:pos x="2" y="25"/>
                  </a:cxn>
                  <a:cxn ang="0">
                    <a:pos x="4" y="23"/>
                  </a:cxn>
                  <a:cxn ang="0">
                    <a:pos x="23" y="4"/>
                  </a:cxn>
                  <a:cxn ang="0">
                    <a:pos x="25" y="2"/>
                  </a:cxn>
                  <a:cxn ang="0">
                    <a:pos x="23" y="0"/>
                  </a:cxn>
                  <a:cxn ang="0">
                    <a:pos x="23" y="0"/>
                  </a:cxn>
                  <a:cxn ang="0">
                    <a:pos x="23" y="0"/>
                  </a:cxn>
                </a:cxnLst>
                <a:rect l="0" t="0" r="r" b="b"/>
                <a:pathLst>
                  <a:path w="25" h="25">
                    <a:moveTo>
                      <a:pt x="23" y="0"/>
                    </a:moveTo>
                    <a:cubicBezTo>
                      <a:pt x="11" y="0"/>
                      <a:pt x="0" y="10"/>
                      <a:pt x="0" y="23"/>
                    </a:cubicBezTo>
                    <a:cubicBezTo>
                      <a:pt x="0" y="24"/>
                      <a:pt x="1" y="25"/>
                      <a:pt x="2" y="25"/>
                    </a:cubicBezTo>
                    <a:cubicBezTo>
                      <a:pt x="3" y="25"/>
                      <a:pt x="4" y="24"/>
                      <a:pt x="4" y="23"/>
                    </a:cubicBezTo>
                    <a:cubicBezTo>
                      <a:pt x="4" y="12"/>
                      <a:pt x="13" y="4"/>
                      <a:pt x="23" y="4"/>
                    </a:cubicBezTo>
                    <a:cubicBezTo>
                      <a:pt x="24" y="4"/>
                      <a:pt x="25" y="3"/>
                      <a:pt x="25" y="2"/>
                    </a:cubicBezTo>
                    <a:cubicBezTo>
                      <a:pt x="25" y="1"/>
                      <a:pt x="24" y="0"/>
                      <a:pt x="23" y="0"/>
                    </a:cubicBezTo>
                    <a:close/>
                    <a:moveTo>
                      <a:pt x="23" y="0"/>
                    </a:moveTo>
                    <a:cubicBezTo>
                      <a:pt x="23" y="0"/>
                      <a:pt x="23" y="0"/>
                      <a:pt x="2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  <a:ea typeface="+mn-ea"/>
                </a:endParaRPr>
              </a:p>
            </p:txBody>
          </p:sp>
        </p:grpSp>
      </p:grpSp>
      <p:grpSp>
        <p:nvGrpSpPr>
          <p:cNvPr id="66" name="Gruppieren 65"/>
          <p:cNvGrpSpPr/>
          <p:nvPr/>
        </p:nvGrpSpPr>
        <p:grpSpPr>
          <a:xfrm>
            <a:off x="6232889" y="3452129"/>
            <a:ext cx="5227274" cy="898892"/>
            <a:chOff x="6232889" y="3452129"/>
            <a:chExt cx="5227274" cy="898892"/>
          </a:xfrm>
        </p:grpSpPr>
        <p:sp>
          <p:nvSpPr>
            <p:cNvPr id="38" name="Rechteck 37"/>
            <p:cNvSpPr/>
            <p:nvPr/>
          </p:nvSpPr>
          <p:spPr>
            <a:xfrm flipH="1">
              <a:off x="6232889" y="3452129"/>
              <a:ext cx="898898" cy="89889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5" name="Rechteck 44"/>
            <p:cNvSpPr>
              <a:spLocks/>
            </p:cNvSpPr>
            <p:nvPr/>
          </p:nvSpPr>
          <p:spPr>
            <a:xfrm flipH="1">
              <a:off x="7405565" y="3452129"/>
              <a:ext cx="4054598" cy="369332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r>
                <a:rPr lang="de-DE" b="1" dirty="0">
                  <a:solidFill>
                    <a:schemeClr val="accent2"/>
                  </a:solidFill>
                  <a:latin typeface="+mj-lt"/>
                </a:rPr>
                <a:t>Best </a:t>
              </a:r>
              <a:r>
                <a:rPr lang="de-DE" b="1" dirty="0" err="1">
                  <a:solidFill>
                    <a:schemeClr val="accent2"/>
                  </a:solidFill>
                  <a:latin typeface="+mj-lt"/>
                </a:rPr>
                <a:t>to</a:t>
              </a:r>
              <a:r>
                <a:rPr lang="de-DE" b="1" dirty="0">
                  <a:solidFill>
                    <a:schemeClr val="accent2"/>
                  </a:solidFill>
                  <a:latin typeface="+mj-lt"/>
                </a:rPr>
                <a:t> </a:t>
              </a:r>
              <a:r>
                <a:rPr lang="de-DE" b="1" dirty="0" err="1">
                  <a:solidFill>
                    <a:schemeClr val="accent2"/>
                  </a:solidFill>
                  <a:latin typeface="+mj-lt"/>
                </a:rPr>
                <a:t>Invest</a:t>
              </a:r>
              <a:r>
                <a:rPr lang="de-DE" b="1" dirty="0">
                  <a:solidFill>
                    <a:schemeClr val="accent2"/>
                  </a:solidFill>
                  <a:latin typeface="+mj-lt"/>
                </a:rPr>
                <a:t> </a:t>
              </a:r>
            </a:p>
          </p:txBody>
        </p:sp>
        <p:sp>
          <p:nvSpPr>
            <p:cNvPr id="50" name="Rechteck 49"/>
            <p:cNvSpPr>
              <a:spLocks/>
            </p:cNvSpPr>
            <p:nvPr/>
          </p:nvSpPr>
          <p:spPr>
            <a:xfrm flipH="1">
              <a:off x="7405565" y="3827801"/>
              <a:ext cx="4054598" cy="523220"/>
            </a:xfrm>
            <a:prstGeom prst="rect">
              <a:avLst/>
            </a:prstGeom>
          </p:spPr>
          <p:txBody>
            <a:bodyPr wrap="square" lIns="91440" tIns="45720" rIns="91440" bIns="45720" anchor="b">
              <a:spAutoFit/>
            </a:bodyPr>
            <a:lstStyle/>
            <a:p>
              <a:r>
                <a:rPr lang="de-DE" sz="1400" b="1" dirty="0"/>
                <a:t>Positives</a:t>
              </a:r>
              <a:br>
                <a:rPr lang="de-DE" sz="1400" b="1" dirty="0"/>
              </a:br>
              <a:r>
                <a:rPr lang="de-DE" sz="1400" b="1" dirty="0"/>
                <a:t>Investitionsklima</a:t>
              </a:r>
            </a:p>
          </p:txBody>
        </p:sp>
        <p:sp>
          <p:nvSpPr>
            <p:cNvPr id="60" name="Shape 2806">
              <a:extLst>
                <a:ext uri="{FF2B5EF4-FFF2-40B4-BE49-F238E27FC236}">
                  <a16:creationId xmlns:a16="http://schemas.microsoft.com/office/drawing/2014/main" id="{1E8F92B4-8AAC-46C1-9840-E97974A1E6CD}"/>
                </a:ext>
              </a:extLst>
            </p:cNvPr>
            <p:cNvSpPr/>
            <p:nvPr/>
          </p:nvSpPr>
          <p:spPr>
            <a:xfrm>
              <a:off x="6420951" y="3735240"/>
              <a:ext cx="522774" cy="33267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442" y="12358"/>
                  </a:moveTo>
                  <a:cubicBezTo>
                    <a:pt x="10390" y="12952"/>
                    <a:pt x="10196" y="13240"/>
                    <a:pt x="9938" y="13340"/>
                  </a:cubicBezTo>
                  <a:cubicBezTo>
                    <a:pt x="10292" y="13653"/>
                    <a:pt x="10472" y="14131"/>
                    <a:pt x="10300" y="14961"/>
                  </a:cubicBezTo>
                  <a:cubicBezTo>
                    <a:pt x="10088" y="15991"/>
                    <a:pt x="9582" y="16078"/>
                    <a:pt x="8910" y="15863"/>
                  </a:cubicBezTo>
                  <a:lnTo>
                    <a:pt x="8746" y="16971"/>
                  </a:lnTo>
                  <a:lnTo>
                    <a:pt x="8352" y="16805"/>
                  </a:lnTo>
                  <a:lnTo>
                    <a:pt x="8513" y="15711"/>
                  </a:lnTo>
                  <a:cubicBezTo>
                    <a:pt x="8411" y="15668"/>
                    <a:pt x="8306" y="15622"/>
                    <a:pt x="8199" y="15573"/>
                  </a:cubicBezTo>
                  <a:lnTo>
                    <a:pt x="8037" y="16672"/>
                  </a:lnTo>
                  <a:lnTo>
                    <a:pt x="7643" y="16505"/>
                  </a:lnTo>
                  <a:lnTo>
                    <a:pt x="7806" y="15395"/>
                  </a:lnTo>
                  <a:cubicBezTo>
                    <a:pt x="7714" y="15355"/>
                    <a:pt x="7621" y="15312"/>
                    <a:pt x="7525" y="15272"/>
                  </a:cubicBezTo>
                  <a:lnTo>
                    <a:pt x="7012" y="15055"/>
                  </a:lnTo>
                  <a:lnTo>
                    <a:pt x="7207" y="14290"/>
                  </a:lnTo>
                  <a:cubicBezTo>
                    <a:pt x="7207" y="14290"/>
                    <a:pt x="7498" y="14421"/>
                    <a:pt x="7495" y="14412"/>
                  </a:cubicBezTo>
                  <a:cubicBezTo>
                    <a:pt x="7606" y="14459"/>
                    <a:pt x="7656" y="14335"/>
                    <a:pt x="7675" y="14252"/>
                  </a:cubicBezTo>
                  <a:lnTo>
                    <a:pt x="7933" y="12501"/>
                  </a:lnTo>
                  <a:cubicBezTo>
                    <a:pt x="7948" y="12506"/>
                    <a:pt x="7961" y="12512"/>
                    <a:pt x="7974" y="12518"/>
                  </a:cubicBezTo>
                  <a:cubicBezTo>
                    <a:pt x="7959" y="12507"/>
                    <a:pt x="7945" y="12501"/>
                    <a:pt x="7934" y="12495"/>
                  </a:cubicBezTo>
                  <a:lnTo>
                    <a:pt x="8118" y="11245"/>
                  </a:lnTo>
                  <a:cubicBezTo>
                    <a:pt x="8122" y="11103"/>
                    <a:pt x="8093" y="10924"/>
                    <a:pt x="7934" y="10856"/>
                  </a:cubicBezTo>
                  <a:cubicBezTo>
                    <a:pt x="7940" y="10849"/>
                    <a:pt x="7647" y="10735"/>
                    <a:pt x="7647" y="10735"/>
                  </a:cubicBezTo>
                  <a:lnTo>
                    <a:pt x="7752" y="10022"/>
                  </a:lnTo>
                  <a:lnTo>
                    <a:pt x="8297" y="10252"/>
                  </a:lnTo>
                  <a:lnTo>
                    <a:pt x="8296" y="10255"/>
                  </a:lnTo>
                  <a:cubicBezTo>
                    <a:pt x="8378" y="10289"/>
                    <a:pt x="8462" y="10322"/>
                    <a:pt x="8548" y="10356"/>
                  </a:cubicBezTo>
                  <a:lnTo>
                    <a:pt x="8709" y="9258"/>
                  </a:lnTo>
                  <a:lnTo>
                    <a:pt x="9103" y="9424"/>
                  </a:lnTo>
                  <a:lnTo>
                    <a:pt x="8945" y="10500"/>
                  </a:lnTo>
                  <a:cubicBezTo>
                    <a:pt x="9051" y="10541"/>
                    <a:pt x="9158" y="10582"/>
                    <a:pt x="9261" y="10627"/>
                  </a:cubicBezTo>
                  <a:lnTo>
                    <a:pt x="9418" y="9557"/>
                  </a:lnTo>
                  <a:lnTo>
                    <a:pt x="9813" y="9724"/>
                  </a:lnTo>
                  <a:lnTo>
                    <a:pt x="9651" y="10822"/>
                  </a:lnTo>
                  <a:cubicBezTo>
                    <a:pt x="10149" y="11112"/>
                    <a:pt x="10513" y="11548"/>
                    <a:pt x="10442" y="12358"/>
                  </a:cubicBezTo>
                  <a:moveTo>
                    <a:pt x="8836" y="7714"/>
                  </a:moveTo>
                  <a:cubicBezTo>
                    <a:pt x="6938" y="7714"/>
                    <a:pt x="5400" y="10132"/>
                    <a:pt x="5400" y="13114"/>
                  </a:cubicBezTo>
                  <a:cubicBezTo>
                    <a:pt x="5400" y="16097"/>
                    <a:pt x="6938" y="18514"/>
                    <a:pt x="8836" y="18514"/>
                  </a:cubicBezTo>
                  <a:cubicBezTo>
                    <a:pt x="10734" y="18514"/>
                    <a:pt x="12273" y="16097"/>
                    <a:pt x="12273" y="13114"/>
                  </a:cubicBezTo>
                  <a:cubicBezTo>
                    <a:pt x="12273" y="10132"/>
                    <a:pt x="10734" y="7714"/>
                    <a:pt x="8836" y="7714"/>
                  </a:cubicBezTo>
                  <a:moveTo>
                    <a:pt x="13255" y="16971"/>
                  </a:moveTo>
                  <a:cubicBezTo>
                    <a:pt x="12983" y="16971"/>
                    <a:pt x="12764" y="17318"/>
                    <a:pt x="12764" y="17743"/>
                  </a:cubicBezTo>
                  <a:cubicBezTo>
                    <a:pt x="12764" y="18169"/>
                    <a:pt x="12983" y="18514"/>
                    <a:pt x="13255" y="18514"/>
                  </a:cubicBezTo>
                  <a:cubicBezTo>
                    <a:pt x="13526" y="18514"/>
                    <a:pt x="13745" y="18169"/>
                    <a:pt x="13745" y="17743"/>
                  </a:cubicBezTo>
                  <a:cubicBezTo>
                    <a:pt x="13745" y="17318"/>
                    <a:pt x="13526" y="16971"/>
                    <a:pt x="13255" y="16971"/>
                  </a:cubicBezTo>
                  <a:moveTo>
                    <a:pt x="8839" y="11290"/>
                  </a:moveTo>
                  <a:lnTo>
                    <a:pt x="8643" y="12624"/>
                  </a:lnTo>
                  <a:cubicBezTo>
                    <a:pt x="8865" y="12718"/>
                    <a:pt x="9552" y="13102"/>
                    <a:pt x="9663" y="12347"/>
                  </a:cubicBezTo>
                  <a:cubicBezTo>
                    <a:pt x="9778" y="11559"/>
                    <a:pt x="9062" y="11384"/>
                    <a:pt x="8839" y="11290"/>
                  </a:cubicBezTo>
                  <a:moveTo>
                    <a:pt x="20618" y="0"/>
                  </a:moveTo>
                  <a:lnTo>
                    <a:pt x="4909" y="0"/>
                  </a:lnTo>
                  <a:cubicBezTo>
                    <a:pt x="4367" y="0"/>
                    <a:pt x="3927" y="691"/>
                    <a:pt x="3927" y="1543"/>
                  </a:cubicBezTo>
                  <a:lnTo>
                    <a:pt x="3927" y="2314"/>
                  </a:lnTo>
                  <a:cubicBezTo>
                    <a:pt x="3927" y="2741"/>
                    <a:pt x="4147" y="3086"/>
                    <a:pt x="4418" y="3086"/>
                  </a:cubicBezTo>
                  <a:cubicBezTo>
                    <a:pt x="4690" y="3086"/>
                    <a:pt x="4909" y="2741"/>
                    <a:pt x="4909" y="2314"/>
                  </a:cubicBezTo>
                  <a:lnTo>
                    <a:pt x="4909" y="1543"/>
                  </a:lnTo>
                  <a:lnTo>
                    <a:pt x="20618" y="1543"/>
                  </a:lnTo>
                  <a:lnTo>
                    <a:pt x="20618" y="15429"/>
                  </a:lnTo>
                  <a:lnTo>
                    <a:pt x="19145" y="15429"/>
                  </a:lnTo>
                  <a:cubicBezTo>
                    <a:pt x="18874" y="15429"/>
                    <a:pt x="18655" y="15774"/>
                    <a:pt x="18655" y="16200"/>
                  </a:cubicBezTo>
                  <a:cubicBezTo>
                    <a:pt x="18655" y="16626"/>
                    <a:pt x="18874" y="16971"/>
                    <a:pt x="19145" y="16971"/>
                  </a:cubicBezTo>
                  <a:lnTo>
                    <a:pt x="20618" y="16971"/>
                  </a:lnTo>
                  <a:cubicBezTo>
                    <a:pt x="21160" y="16971"/>
                    <a:pt x="21600" y="16281"/>
                    <a:pt x="21600" y="15429"/>
                  </a:cubicBezTo>
                  <a:lnTo>
                    <a:pt x="21600" y="1543"/>
                  </a:lnTo>
                  <a:cubicBezTo>
                    <a:pt x="21600" y="691"/>
                    <a:pt x="21160" y="0"/>
                    <a:pt x="20618" y="0"/>
                  </a:cubicBezTo>
                  <a:moveTo>
                    <a:pt x="16200" y="7714"/>
                  </a:moveTo>
                  <a:cubicBezTo>
                    <a:pt x="15929" y="7714"/>
                    <a:pt x="15709" y="7369"/>
                    <a:pt x="15709" y="6943"/>
                  </a:cubicBezTo>
                  <a:cubicBezTo>
                    <a:pt x="15709" y="6517"/>
                    <a:pt x="15929" y="6171"/>
                    <a:pt x="16200" y="6171"/>
                  </a:cubicBezTo>
                  <a:cubicBezTo>
                    <a:pt x="16471" y="6171"/>
                    <a:pt x="16691" y="6517"/>
                    <a:pt x="16691" y="6943"/>
                  </a:cubicBezTo>
                  <a:cubicBezTo>
                    <a:pt x="16691" y="7369"/>
                    <a:pt x="16471" y="7714"/>
                    <a:pt x="16200" y="7714"/>
                  </a:cubicBezTo>
                  <a:moveTo>
                    <a:pt x="16691" y="17113"/>
                  </a:moveTo>
                  <a:cubicBezTo>
                    <a:pt x="16537" y="17028"/>
                    <a:pt x="16373" y="16971"/>
                    <a:pt x="16200" y="16971"/>
                  </a:cubicBezTo>
                  <a:cubicBezTo>
                    <a:pt x="15387" y="16971"/>
                    <a:pt x="14727" y="18008"/>
                    <a:pt x="14727" y="19286"/>
                  </a:cubicBezTo>
                  <a:cubicBezTo>
                    <a:pt x="14727" y="19558"/>
                    <a:pt x="14763" y="19815"/>
                    <a:pt x="14817" y="20057"/>
                  </a:cubicBezTo>
                  <a:lnTo>
                    <a:pt x="2855" y="20057"/>
                  </a:lnTo>
                  <a:cubicBezTo>
                    <a:pt x="2910" y="19815"/>
                    <a:pt x="2945" y="19558"/>
                    <a:pt x="2945" y="19286"/>
                  </a:cubicBezTo>
                  <a:cubicBezTo>
                    <a:pt x="2945" y="18008"/>
                    <a:pt x="2286" y="16971"/>
                    <a:pt x="1473" y="16971"/>
                  </a:cubicBezTo>
                  <a:cubicBezTo>
                    <a:pt x="1300" y="16971"/>
                    <a:pt x="1136" y="17028"/>
                    <a:pt x="982" y="17113"/>
                  </a:cubicBezTo>
                  <a:lnTo>
                    <a:pt x="982" y="9116"/>
                  </a:lnTo>
                  <a:cubicBezTo>
                    <a:pt x="1136" y="9202"/>
                    <a:pt x="1300" y="9257"/>
                    <a:pt x="1473" y="9257"/>
                  </a:cubicBezTo>
                  <a:cubicBezTo>
                    <a:pt x="2286" y="9257"/>
                    <a:pt x="2945" y="8222"/>
                    <a:pt x="2945" y="6943"/>
                  </a:cubicBezTo>
                  <a:cubicBezTo>
                    <a:pt x="2945" y="6671"/>
                    <a:pt x="2910" y="6414"/>
                    <a:pt x="2855" y="6171"/>
                  </a:cubicBezTo>
                  <a:lnTo>
                    <a:pt x="14817" y="6171"/>
                  </a:lnTo>
                  <a:cubicBezTo>
                    <a:pt x="14763" y="6414"/>
                    <a:pt x="14727" y="6671"/>
                    <a:pt x="14727" y="6943"/>
                  </a:cubicBezTo>
                  <a:cubicBezTo>
                    <a:pt x="14727" y="8222"/>
                    <a:pt x="15387" y="9257"/>
                    <a:pt x="16200" y="9257"/>
                  </a:cubicBezTo>
                  <a:cubicBezTo>
                    <a:pt x="16373" y="9257"/>
                    <a:pt x="16537" y="9202"/>
                    <a:pt x="16691" y="9116"/>
                  </a:cubicBezTo>
                  <a:cubicBezTo>
                    <a:pt x="16691" y="9116"/>
                    <a:pt x="16691" y="17113"/>
                    <a:pt x="16691" y="17113"/>
                  </a:cubicBezTo>
                  <a:close/>
                  <a:moveTo>
                    <a:pt x="16200" y="20057"/>
                  </a:moveTo>
                  <a:cubicBezTo>
                    <a:pt x="15929" y="20057"/>
                    <a:pt x="15709" y="19712"/>
                    <a:pt x="15709" y="19286"/>
                  </a:cubicBezTo>
                  <a:cubicBezTo>
                    <a:pt x="15709" y="18860"/>
                    <a:pt x="15929" y="18514"/>
                    <a:pt x="16200" y="18514"/>
                  </a:cubicBezTo>
                  <a:cubicBezTo>
                    <a:pt x="16471" y="18514"/>
                    <a:pt x="16691" y="18860"/>
                    <a:pt x="16691" y="19286"/>
                  </a:cubicBezTo>
                  <a:cubicBezTo>
                    <a:pt x="16691" y="19712"/>
                    <a:pt x="16471" y="20057"/>
                    <a:pt x="16200" y="20057"/>
                  </a:cubicBezTo>
                  <a:moveTo>
                    <a:pt x="1473" y="20057"/>
                  </a:moveTo>
                  <a:cubicBezTo>
                    <a:pt x="1201" y="20057"/>
                    <a:pt x="982" y="19712"/>
                    <a:pt x="982" y="19286"/>
                  </a:cubicBezTo>
                  <a:cubicBezTo>
                    <a:pt x="982" y="18860"/>
                    <a:pt x="1201" y="18514"/>
                    <a:pt x="1473" y="18514"/>
                  </a:cubicBezTo>
                  <a:cubicBezTo>
                    <a:pt x="1744" y="18514"/>
                    <a:pt x="1964" y="18860"/>
                    <a:pt x="1964" y="19286"/>
                  </a:cubicBezTo>
                  <a:cubicBezTo>
                    <a:pt x="1964" y="19712"/>
                    <a:pt x="1744" y="20057"/>
                    <a:pt x="1473" y="20057"/>
                  </a:cubicBezTo>
                  <a:moveTo>
                    <a:pt x="1473" y="6171"/>
                  </a:moveTo>
                  <a:cubicBezTo>
                    <a:pt x="1744" y="6171"/>
                    <a:pt x="1964" y="6517"/>
                    <a:pt x="1964" y="6943"/>
                  </a:cubicBezTo>
                  <a:cubicBezTo>
                    <a:pt x="1964" y="7369"/>
                    <a:pt x="1744" y="7714"/>
                    <a:pt x="1473" y="7714"/>
                  </a:cubicBezTo>
                  <a:cubicBezTo>
                    <a:pt x="1201" y="7714"/>
                    <a:pt x="982" y="7369"/>
                    <a:pt x="982" y="6943"/>
                  </a:cubicBezTo>
                  <a:cubicBezTo>
                    <a:pt x="982" y="6517"/>
                    <a:pt x="1201" y="6171"/>
                    <a:pt x="1473" y="6171"/>
                  </a:cubicBezTo>
                  <a:moveTo>
                    <a:pt x="16691" y="4629"/>
                  </a:moveTo>
                  <a:lnTo>
                    <a:pt x="982" y="4629"/>
                  </a:lnTo>
                  <a:cubicBezTo>
                    <a:pt x="440" y="4629"/>
                    <a:pt x="0" y="5319"/>
                    <a:pt x="0" y="6171"/>
                  </a:cubicBezTo>
                  <a:lnTo>
                    <a:pt x="0" y="20057"/>
                  </a:lnTo>
                  <a:cubicBezTo>
                    <a:pt x="0" y="20909"/>
                    <a:pt x="440" y="21600"/>
                    <a:pt x="982" y="21600"/>
                  </a:cubicBezTo>
                  <a:lnTo>
                    <a:pt x="16691" y="21600"/>
                  </a:lnTo>
                  <a:cubicBezTo>
                    <a:pt x="17233" y="21600"/>
                    <a:pt x="17673" y="20909"/>
                    <a:pt x="17673" y="20057"/>
                  </a:cubicBezTo>
                  <a:lnTo>
                    <a:pt x="17673" y="6171"/>
                  </a:lnTo>
                  <a:cubicBezTo>
                    <a:pt x="17673" y="5319"/>
                    <a:pt x="17233" y="4629"/>
                    <a:pt x="16691" y="4629"/>
                  </a:cubicBezTo>
                  <a:moveTo>
                    <a:pt x="8543" y="13297"/>
                  </a:moveTo>
                  <a:lnTo>
                    <a:pt x="8327" y="14769"/>
                  </a:lnTo>
                  <a:cubicBezTo>
                    <a:pt x="8595" y="14882"/>
                    <a:pt x="9419" y="15330"/>
                    <a:pt x="9541" y="14500"/>
                  </a:cubicBezTo>
                  <a:cubicBezTo>
                    <a:pt x="9669" y="13634"/>
                    <a:pt x="8811" y="13410"/>
                    <a:pt x="8543" y="13297"/>
                  </a:cubicBezTo>
                  <a:moveTo>
                    <a:pt x="4418" y="7714"/>
                  </a:moveTo>
                  <a:cubicBezTo>
                    <a:pt x="4147" y="7714"/>
                    <a:pt x="3927" y="8060"/>
                    <a:pt x="3927" y="8486"/>
                  </a:cubicBezTo>
                  <a:cubicBezTo>
                    <a:pt x="3927" y="8912"/>
                    <a:pt x="4147" y="9257"/>
                    <a:pt x="4418" y="9257"/>
                  </a:cubicBezTo>
                  <a:cubicBezTo>
                    <a:pt x="4690" y="9257"/>
                    <a:pt x="4909" y="8912"/>
                    <a:pt x="4909" y="8486"/>
                  </a:cubicBezTo>
                  <a:cubicBezTo>
                    <a:pt x="4909" y="8060"/>
                    <a:pt x="4690" y="7714"/>
                    <a:pt x="4418" y="7714"/>
                  </a:cubicBezTo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14284" tIns="14284" rIns="14284" bIns="14284" anchor="ctr"/>
            <a:lstStyle/>
            <a:p>
              <a:pPr defTabSz="171399" eaLnBrk="1" hangingPunct="1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Fira Sans"/>
                  <a:ea typeface="Fira Sans"/>
                  <a:cs typeface="Fira Sans"/>
                  <a:sym typeface="Fira Sans"/>
                </a:defRPr>
              </a:pPr>
              <a:endParaRPr sz="1125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 panose="020B0604020202020204" pitchFamily="34" charset="0"/>
                <a:ea typeface="Calibri" charset="0"/>
                <a:cs typeface="Calibri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67" name="Gruppieren 66"/>
          <p:cNvGrpSpPr/>
          <p:nvPr/>
        </p:nvGrpSpPr>
        <p:grpSpPr>
          <a:xfrm>
            <a:off x="6232889" y="4834364"/>
            <a:ext cx="5227274" cy="898892"/>
            <a:chOff x="6232889" y="4834364"/>
            <a:chExt cx="5227274" cy="898892"/>
          </a:xfrm>
        </p:grpSpPr>
        <p:sp>
          <p:nvSpPr>
            <p:cNvPr id="39" name="Rechteck 38"/>
            <p:cNvSpPr/>
            <p:nvPr/>
          </p:nvSpPr>
          <p:spPr>
            <a:xfrm flipH="1">
              <a:off x="6232889" y="4834364"/>
              <a:ext cx="898898" cy="89889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" name="Rechteck 45"/>
            <p:cNvSpPr>
              <a:spLocks/>
            </p:cNvSpPr>
            <p:nvPr/>
          </p:nvSpPr>
          <p:spPr>
            <a:xfrm flipH="1">
              <a:off x="7405565" y="4834364"/>
              <a:ext cx="4054598" cy="369332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r>
                <a:rPr lang="de-DE" b="1" dirty="0">
                  <a:solidFill>
                    <a:schemeClr val="accent3"/>
                  </a:solidFill>
                  <a:latin typeface="+mj-lt"/>
                </a:rPr>
                <a:t>Starker Partner </a:t>
              </a:r>
            </a:p>
          </p:txBody>
        </p:sp>
        <p:sp>
          <p:nvSpPr>
            <p:cNvPr id="51" name="Rechteck 50"/>
            <p:cNvSpPr>
              <a:spLocks/>
            </p:cNvSpPr>
            <p:nvPr/>
          </p:nvSpPr>
          <p:spPr>
            <a:xfrm flipH="1">
              <a:off x="7405565" y="5210036"/>
              <a:ext cx="4054598" cy="523220"/>
            </a:xfrm>
            <a:prstGeom prst="rect">
              <a:avLst/>
            </a:prstGeom>
          </p:spPr>
          <p:txBody>
            <a:bodyPr wrap="square" lIns="91440" tIns="45720" rIns="91440" bIns="45720" anchor="b">
              <a:spAutoFit/>
            </a:bodyPr>
            <a:lstStyle/>
            <a:p>
              <a:r>
                <a:rPr lang="de-DE" sz="1400" dirty="0"/>
                <a:t>LEG –</a:t>
              </a:r>
              <a:br>
                <a:rPr lang="de-DE" sz="1400" dirty="0"/>
              </a:br>
              <a:r>
                <a:rPr lang="de-DE" sz="1400" b="1" dirty="0"/>
                <a:t>individueller Service </a:t>
              </a:r>
              <a:r>
                <a:rPr lang="de-DE" sz="1400" dirty="0"/>
                <a:t>für Sie</a:t>
              </a:r>
            </a:p>
          </p:txBody>
        </p:sp>
        <p:sp>
          <p:nvSpPr>
            <p:cNvPr id="61" name="Freeform 93">
              <a:extLst>
                <a:ext uri="{FF2B5EF4-FFF2-40B4-BE49-F238E27FC236}">
                  <a16:creationId xmlns:a16="http://schemas.microsoft.com/office/drawing/2014/main" id="{849E3B8E-E4C3-4E8B-BFA0-B544B8601A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49526" y="5059496"/>
              <a:ext cx="465624" cy="448630"/>
            </a:xfrm>
            <a:custGeom>
              <a:avLst/>
              <a:gdLst>
                <a:gd name="T0" fmla="*/ 2147483646 w 602"/>
                <a:gd name="T1" fmla="*/ 2147483646 h 580"/>
                <a:gd name="T2" fmla="*/ 2147483646 w 602"/>
                <a:gd name="T3" fmla="*/ 2147483646 h 580"/>
                <a:gd name="T4" fmla="*/ 2147483646 w 602"/>
                <a:gd name="T5" fmla="*/ 2147483646 h 580"/>
                <a:gd name="T6" fmla="*/ 2147483646 w 602"/>
                <a:gd name="T7" fmla="*/ 2147483646 h 580"/>
                <a:gd name="T8" fmla="*/ 2147483646 w 602"/>
                <a:gd name="T9" fmla="*/ 2147483646 h 580"/>
                <a:gd name="T10" fmla="*/ 2147483646 w 602"/>
                <a:gd name="T11" fmla="*/ 2147483646 h 580"/>
                <a:gd name="T12" fmla="*/ 2147483646 w 602"/>
                <a:gd name="T13" fmla="*/ 2147483646 h 580"/>
                <a:gd name="T14" fmla="*/ 2147483646 w 602"/>
                <a:gd name="T15" fmla="*/ 2147483646 h 580"/>
                <a:gd name="T16" fmla="*/ 2147483646 w 602"/>
                <a:gd name="T17" fmla="*/ 2147483646 h 580"/>
                <a:gd name="T18" fmla="*/ 2147483646 w 602"/>
                <a:gd name="T19" fmla="*/ 2147483646 h 580"/>
                <a:gd name="T20" fmla="*/ 2147483646 w 602"/>
                <a:gd name="T21" fmla="*/ 2147483646 h 580"/>
                <a:gd name="T22" fmla="*/ 2147483646 w 602"/>
                <a:gd name="T23" fmla="*/ 2147483646 h 580"/>
                <a:gd name="T24" fmla="*/ 2147483646 w 602"/>
                <a:gd name="T25" fmla="*/ 2147483646 h 580"/>
                <a:gd name="T26" fmla="*/ 2147483646 w 602"/>
                <a:gd name="T27" fmla="*/ 2147483646 h 580"/>
                <a:gd name="T28" fmla="*/ 2147483646 w 602"/>
                <a:gd name="T29" fmla="*/ 2147483646 h 580"/>
                <a:gd name="T30" fmla="*/ 2147483646 w 602"/>
                <a:gd name="T31" fmla="*/ 2147483646 h 580"/>
                <a:gd name="T32" fmla="*/ 2147483646 w 602"/>
                <a:gd name="T33" fmla="*/ 2147483646 h 580"/>
                <a:gd name="T34" fmla="*/ 2147483646 w 602"/>
                <a:gd name="T35" fmla="*/ 2147483646 h 580"/>
                <a:gd name="T36" fmla="*/ 2147483646 w 602"/>
                <a:gd name="T37" fmla="*/ 2147483646 h 580"/>
                <a:gd name="T38" fmla="*/ 2147483646 w 602"/>
                <a:gd name="T39" fmla="*/ 2147483646 h 580"/>
                <a:gd name="T40" fmla="*/ 2147483646 w 602"/>
                <a:gd name="T41" fmla="*/ 2147483646 h 580"/>
                <a:gd name="T42" fmla="*/ 2147483646 w 602"/>
                <a:gd name="T43" fmla="*/ 2147483646 h 580"/>
                <a:gd name="T44" fmla="*/ 2147483646 w 602"/>
                <a:gd name="T45" fmla="*/ 2147483646 h 580"/>
                <a:gd name="T46" fmla="*/ 0 w 602"/>
                <a:gd name="T47" fmla="*/ 2147483646 h 580"/>
                <a:gd name="T48" fmla="*/ 0 w 602"/>
                <a:gd name="T49" fmla="*/ 2147483646 h 580"/>
                <a:gd name="T50" fmla="*/ 0 w 602"/>
                <a:gd name="T51" fmla="*/ 2147483646 h 580"/>
                <a:gd name="T52" fmla="*/ 2147483646 w 602"/>
                <a:gd name="T53" fmla="*/ 2147483646 h 580"/>
                <a:gd name="T54" fmla="*/ 2147483646 w 602"/>
                <a:gd name="T55" fmla="*/ 2147483646 h 580"/>
                <a:gd name="T56" fmla="*/ 2147483646 w 602"/>
                <a:gd name="T57" fmla="*/ 2147483646 h 580"/>
                <a:gd name="T58" fmla="*/ 2147483646 w 602"/>
                <a:gd name="T59" fmla="*/ 2147483646 h 580"/>
                <a:gd name="T60" fmla="*/ 2147483646 w 602"/>
                <a:gd name="T61" fmla="*/ 2147483646 h 580"/>
                <a:gd name="T62" fmla="*/ 2147483646 w 602"/>
                <a:gd name="T63" fmla="*/ 2147483646 h 580"/>
                <a:gd name="T64" fmla="*/ 2147483646 w 602"/>
                <a:gd name="T65" fmla="*/ 2147483646 h 580"/>
                <a:gd name="T66" fmla="*/ 2147483646 w 602"/>
                <a:gd name="T67" fmla="*/ 2147483646 h 580"/>
                <a:gd name="T68" fmla="*/ 2147483646 w 602"/>
                <a:gd name="T69" fmla="*/ 0 h 580"/>
                <a:gd name="T70" fmla="*/ 2147483646 w 602"/>
                <a:gd name="T71" fmla="*/ 2147483646 h 580"/>
                <a:gd name="T72" fmla="*/ 2147483646 w 602"/>
                <a:gd name="T73" fmla="*/ 2147483646 h 580"/>
                <a:gd name="T74" fmla="*/ 2147483646 w 602"/>
                <a:gd name="T75" fmla="*/ 2147483646 h 580"/>
                <a:gd name="T76" fmla="*/ 2147483646 w 602"/>
                <a:gd name="T77" fmla="*/ 2147483646 h 580"/>
                <a:gd name="T78" fmla="*/ 2147483646 w 602"/>
                <a:gd name="T79" fmla="*/ 2147483646 h 580"/>
                <a:gd name="T80" fmla="*/ 2147483646 w 602"/>
                <a:gd name="T81" fmla="*/ 2147483646 h 580"/>
                <a:gd name="T82" fmla="*/ 2147483646 w 602"/>
                <a:gd name="T83" fmla="*/ 2147483646 h 580"/>
                <a:gd name="T84" fmla="*/ 2147483646 w 602"/>
                <a:gd name="T85" fmla="*/ 2147483646 h 580"/>
                <a:gd name="T86" fmla="*/ 2147483646 w 602"/>
                <a:gd name="T87" fmla="*/ 2147483646 h 580"/>
                <a:gd name="T88" fmla="*/ 2147483646 w 602"/>
                <a:gd name="T89" fmla="*/ 2147483646 h 580"/>
                <a:gd name="T90" fmla="*/ 2147483646 w 602"/>
                <a:gd name="T91" fmla="*/ 2147483646 h 580"/>
                <a:gd name="T92" fmla="*/ 2147483646 w 602"/>
                <a:gd name="T93" fmla="*/ 2147483646 h 580"/>
                <a:gd name="T94" fmla="*/ 2147483646 w 602"/>
                <a:gd name="T95" fmla="*/ 2147483646 h 580"/>
                <a:gd name="T96" fmla="*/ 2147483646 w 602"/>
                <a:gd name="T97" fmla="*/ 2147483646 h 580"/>
                <a:gd name="T98" fmla="*/ 2147483646 w 602"/>
                <a:gd name="T99" fmla="*/ 2147483646 h 580"/>
                <a:gd name="T100" fmla="*/ 2147483646 w 602"/>
                <a:gd name="T101" fmla="*/ 2147483646 h 580"/>
                <a:gd name="T102" fmla="*/ 2147483646 w 602"/>
                <a:gd name="T103" fmla="*/ 2147483646 h 580"/>
                <a:gd name="T104" fmla="*/ 2147483646 w 602"/>
                <a:gd name="T105" fmla="*/ 2147483646 h 580"/>
                <a:gd name="T106" fmla="*/ 2147483646 w 602"/>
                <a:gd name="T107" fmla="*/ 2147483646 h 580"/>
                <a:gd name="T108" fmla="*/ 2147483646 w 602"/>
                <a:gd name="T109" fmla="*/ 2147483646 h 58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602" h="580">
                  <a:moveTo>
                    <a:pt x="516" y="551"/>
                  </a:moveTo>
                  <a:lnTo>
                    <a:pt x="516" y="551"/>
                  </a:lnTo>
                  <a:cubicBezTo>
                    <a:pt x="516" y="558"/>
                    <a:pt x="509" y="565"/>
                    <a:pt x="502" y="565"/>
                  </a:cubicBezTo>
                  <a:cubicBezTo>
                    <a:pt x="495" y="565"/>
                    <a:pt x="488" y="558"/>
                    <a:pt x="481" y="551"/>
                  </a:cubicBezTo>
                  <a:cubicBezTo>
                    <a:pt x="446" y="516"/>
                    <a:pt x="446" y="516"/>
                    <a:pt x="446" y="516"/>
                  </a:cubicBezTo>
                  <a:cubicBezTo>
                    <a:pt x="439" y="509"/>
                    <a:pt x="431" y="502"/>
                    <a:pt x="431" y="494"/>
                  </a:cubicBezTo>
                  <a:cubicBezTo>
                    <a:pt x="431" y="480"/>
                    <a:pt x="446" y="466"/>
                    <a:pt x="460" y="466"/>
                  </a:cubicBezTo>
                  <a:cubicBezTo>
                    <a:pt x="467" y="466"/>
                    <a:pt x="474" y="473"/>
                    <a:pt x="481" y="480"/>
                  </a:cubicBezTo>
                  <a:cubicBezTo>
                    <a:pt x="502" y="494"/>
                    <a:pt x="502" y="494"/>
                    <a:pt x="502" y="494"/>
                  </a:cubicBezTo>
                  <a:cubicBezTo>
                    <a:pt x="559" y="438"/>
                    <a:pt x="559" y="438"/>
                    <a:pt x="559" y="438"/>
                  </a:cubicBezTo>
                  <a:cubicBezTo>
                    <a:pt x="559" y="431"/>
                    <a:pt x="566" y="431"/>
                    <a:pt x="573" y="431"/>
                  </a:cubicBezTo>
                  <a:cubicBezTo>
                    <a:pt x="594" y="431"/>
                    <a:pt x="601" y="445"/>
                    <a:pt x="601" y="459"/>
                  </a:cubicBezTo>
                  <a:cubicBezTo>
                    <a:pt x="601" y="466"/>
                    <a:pt x="601" y="473"/>
                    <a:pt x="594" y="480"/>
                  </a:cubicBezTo>
                  <a:lnTo>
                    <a:pt x="516" y="551"/>
                  </a:lnTo>
                  <a:close/>
                  <a:moveTo>
                    <a:pt x="502" y="452"/>
                  </a:moveTo>
                  <a:lnTo>
                    <a:pt x="502" y="452"/>
                  </a:lnTo>
                  <a:cubicBezTo>
                    <a:pt x="488" y="445"/>
                    <a:pt x="474" y="438"/>
                    <a:pt x="460" y="438"/>
                  </a:cubicBezTo>
                  <a:cubicBezTo>
                    <a:pt x="431" y="438"/>
                    <a:pt x="403" y="466"/>
                    <a:pt x="403" y="494"/>
                  </a:cubicBezTo>
                  <a:cubicBezTo>
                    <a:pt x="403" y="516"/>
                    <a:pt x="410" y="530"/>
                    <a:pt x="424" y="537"/>
                  </a:cubicBezTo>
                  <a:cubicBezTo>
                    <a:pt x="460" y="572"/>
                    <a:pt x="460" y="572"/>
                    <a:pt x="460" y="572"/>
                  </a:cubicBezTo>
                  <a:cubicBezTo>
                    <a:pt x="460" y="579"/>
                    <a:pt x="467" y="579"/>
                    <a:pt x="467" y="579"/>
                  </a:cubicBezTo>
                  <a:cubicBezTo>
                    <a:pt x="29" y="579"/>
                    <a:pt x="29" y="579"/>
                    <a:pt x="29" y="579"/>
                  </a:cubicBezTo>
                  <a:cubicBezTo>
                    <a:pt x="15" y="579"/>
                    <a:pt x="0" y="572"/>
                    <a:pt x="0" y="551"/>
                  </a:cubicBezTo>
                  <a:cubicBezTo>
                    <a:pt x="0" y="551"/>
                    <a:pt x="0" y="452"/>
                    <a:pt x="78" y="410"/>
                  </a:cubicBezTo>
                  <a:cubicBezTo>
                    <a:pt x="120" y="388"/>
                    <a:pt x="106" y="410"/>
                    <a:pt x="163" y="381"/>
                  </a:cubicBezTo>
                  <a:cubicBezTo>
                    <a:pt x="219" y="360"/>
                    <a:pt x="233" y="353"/>
                    <a:pt x="233" y="353"/>
                  </a:cubicBezTo>
                  <a:cubicBezTo>
                    <a:pt x="233" y="296"/>
                    <a:pt x="233" y="296"/>
                    <a:pt x="233" y="296"/>
                  </a:cubicBezTo>
                  <a:cubicBezTo>
                    <a:pt x="233" y="296"/>
                    <a:pt x="212" y="275"/>
                    <a:pt x="205" y="226"/>
                  </a:cubicBezTo>
                  <a:cubicBezTo>
                    <a:pt x="191" y="233"/>
                    <a:pt x="191" y="212"/>
                    <a:pt x="191" y="198"/>
                  </a:cubicBezTo>
                  <a:cubicBezTo>
                    <a:pt x="191" y="183"/>
                    <a:pt x="184" y="148"/>
                    <a:pt x="198" y="148"/>
                  </a:cubicBezTo>
                  <a:cubicBezTo>
                    <a:pt x="191" y="127"/>
                    <a:pt x="191" y="99"/>
                    <a:pt x="191" y="92"/>
                  </a:cubicBezTo>
                  <a:cubicBezTo>
                    <a:pt x="198" y="49"/>
                    <a:pt x="241" y="0"/>
                    <a:pt x="304" y="0"/>
                  </a:cubicBezTo>
                  <a:cubicBezTo>
                    <a:pt x="375" y="0"/>
                    <a:pt x="410" y="49"/>
                    <a:pt x="410" y="92"/>
                  </a:cubicBezTo>
                  <a:cubicBezTo>
                    <a:pt x="410" y="99"/>
                    <a:pt x="410" y="127"/>
                    <a:pt x="403" y="148"/>
                  </a:cubicBezTo>
                  <a:cubicBezTo>
                    <a:pt x="424" y="148"/>
                    <a:pt x="417" y="183"/>
                    <a:pt x="417" y="198"/>
                  </a:cubicBezTo>
                  <a:cubicBezTo>
                    <a:pt x="417" y="212"/>
                    <a:pt x="410" y="233"/>
                    <a:pt x="396" y="226"/>
                  </a:cubicBezTo>
                  <a:cubicBezTo>
                    <a:pt x="389" y="275"/>
                    <a:pt x="368" y="296"/>
                    <a:pt x="368" y="296"/>
                  </a:cubicBezTo>
                  <a:cubicBezTo>
                    <a:pt x="368" y="353"/>
                    <a:pt x="368" y="353"/>
                    <a:pt x="368" y="353"/>
                  </a:cubicBezTo>
                  <a:cubicBezTo>
                    <a:pt x="368" y="353"/>
                    <a:pt x="382" y="360"/>
                    <a:pt x="439" y="381"/>
                  </a:cubicBezTo>
                  <a:cubicBezTo>
                    <a:pt x="502" y="410"/>
                    <a:pt x="481" y="388"/>
                    <a:pt x="530" y="410"/>
                  </a:cubicBezTo>
                  <a:cubicBezTo>
                    <a:pt x="530" y="417"/>
                    <a:pt x="530" y="417"/>
                    <a:pt x="537" y="417"/>
                  </a:cubicBezTo>
                  <a:lnTo>
                    <a:pt x="502" y="452"/>
                  </a:lnTo>
                  <a:close/>
                  <a:moveTo>
                    <a:pt x="601" y="516"/>
                  </a:moveTo>
                  <a:lnTo>
                    <a:pt x="601" y="516"/>
                  </a:lnTo>
                  <a:cubicBezTo>
                    <a:pt x="601" y="537"/>
                    <a:pt x="601" y="551"/>
                    <a:pt x="601" y="551"/>
                  </a:cubicBezTo>
                  <a:cubicBezTo>
                    <a:pt x="601" y="572"/>
                    <a:pt x="594" y="579"/>
                    <a:pt x="573" y="579"/>
                  </a:cubicBezTo>
                  <a:cubicBezTo>
                    <a:pt x="530" y="579"/>
                    <a:pt x="530" y="579"/>
                    <a:pt x="530" y="579"/>
                  </a:cubicBezTo>
                  <a:cubicBezTo>
                    <a:pt x="537" y="579"/>
                    <a:pt x="537" y="579"/>
                    <a:pt x="537" y="572"/>
                  </a:cubicBezTo>
                  <a:lnTo>
                    <a:pt x="601" y="5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8" name="btfpLayoutConfig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de-DE" sz="100">
                <a:solidFill>
                  <a:srgbClr val="FFFFFF">
                    <a:alpha val="0"/>
                  </a:srgbClr>
                </a:solidFill>
              </a:rPr>
              <a:t>overall_1_132077573074414877 columns_1_132077573074414877 </a:t>
            </a:r>
          </a:p>
        </p:txBody>
      </p:sp>
    </p:spTree>
    <p:extLst>
      <p:ext uri="{BB962C8B-B14F-4D97-AF65-F5344CB8AC3E}">
        <p14:creationId xmlns:p14="http://schemas.microsoft.com/office/powerpoint/2010/main" val="22308249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340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entrale Lage in Europa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96F04B-5BF4-4E2C-ABAC-797FA85E348C}" type="datetime1">
              <a:rPr lang="de-DE" smtClean="0">
                <a:solidFill>
                  <a:schemeClr val="bg1"/>
                </a:solidFill>
              </a:rPr>
              <a:pPr/>
              <a:t>24.02.2025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Standor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13123D-ADC2-423E-8E38-66EF22156AFA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22" name="Inhaltsplatzhalter 2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1200"/>
              </a:spcBef>
            </a:pPr>
            <a:r>
              <a:rPr lang="de-DE" dirty="0"/>
              <a:t>Im Zentrum Deutschlands – Europas größtem Markt</a:t>
            </a:r>
          </a:p>
          <a:p>
            <a:pPr>
              <a:spcBef>
                <a:spcPts val="1200"/>
              </a:spcBef>
            </a:pPr>
            <a:r>
              <a:rPr lang="de-DE" b="1"/>
              <a:t>Exporte: </a:t>
            </a:r>
            <a:r>
              <a:rPr lang="de-DE"/>
              <a:t>1,3 Billionen Euro	</a:t>
            </a:r>
            <a:r>
              <a:rPr lang="de-DE" b="1"/>
              <a:t>BIP: </a:t>
            </a:r>
            <a:r>
              <a:rPr lang="de-DE"/>
              <a:t>3,4 Billionen Euro</a:t>
            </a:r>
            <a:endParaRPr lang="de-DE" dirty="0"/>
          </a:p>
          <a:p>
            <a:pPr>
              <a:spcBef>
                <a:spcPts val="1200"/>
              </a:spcBef>
            </a:pPr>
            <a:r>
              <a:rPr lang="de-DE" dirty="0"/>
              <a:t>Optimale Logistik und exzellente Infrastruktur</a:t>
            </a:r>
          </a:p>
        </p:txBody>
      </p:sp>
      <p:sp>
        <p:nvSpPr>
          <p:cNvPr id="69" name="Rechteck 68"/>
          <p:cNvSpPr/>
          <p:nvPr/>
        </p:nvSpPr>
        <p:spPr>
          <a:xfrm>
            <a:off x="6096000" y="3861048"/>
            <a:ext cx="3076163" cy="36933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de-DE" sz="2400" dirty="0">
                <a:solidFill>
                  <a:schemeClr val="accent1"/>
                </a:solidFill>
              </a:rPr>
              <a:t>Im Radius von 800 km</a:t>
            </a:r>
          </a:p>
        </p:txBody>
      </p:sp>
      <p:sp>
        <p:nvSpPr>
          <p:cNvPr id="23" name="Rechteck 22"/>
          <p:cNvSpPr/>
          <p:nvPr/>
        </p:nvSpPr>
        <p:spPr>
          <a:xfrm>
            <a:off x="6096000" y="6225187"/>
            <a:ext cx="5688632" cy="3077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de-DE" sz="1000" dirty="0"/>
              <a:t>Quelle</a:t>
            </a:r>
            <a:r>
              <a:rPr lang="de-DE" sz="1000"/>
              <a:t>: Thüringer Landesamt für Statistik, </a:t>
            </a:r>
            <a:r>
              <a:rPr lang="de-DE" sz="1000" dirty="0" err="1"/>
              <a:t>destatis</a:t>
            </a:r>
            <a:r>
              <a:rPr lang="de-DE" sz="1000" dirty="0"/>
              <a:t>, EUROSTAT/OECD; </a:t>
            </a:r>
            <a:r>
              <a:rPr lang="de-DE" sz="1000"/>
              <a:t>GfK Nürnberg</a:t>
            </a:r>
            <a:br>
              <a:rPr lang="de-DE" sz="1000" dirty="0"/>
            </a:br>
            <a:r>
              <a:rPr lang="de-DE" sz="1000" dirty="0"/>
              <a:t>Status</a:t>
            </a:r>
            <a:r>
              <a:rPr lang="de-DE" sz="1000"/>
              <a:t>: Juni 2020</a:t>
            </a:r>
            <a:endParaRPr lang="de-DE" sz="1000" dirty="0"/>
          </a:p>
        </p:txBody>
      </p:sp>
      <p:sp>
        <p:nvSpPr>
          <p:cNvPr id="20" name="Rechteck 19"/>
          <p:cNvSpPr/>
          <p:nvPr/>
        </p:nvSpPr>
        <p:spPr>
          <a:xfrm>
            <a:off x="6101647" y="4859764"/>
            <a:ext cx="1570943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de-DE" sz="1400" dirty="0"/>
              <a:t>potentielle Kunden</a:t>
            </a:r>
          </a:p>
        </p:txBody>
      </p:sp>
      <p:sp>
        <p:nvSpPr>
          <p:cNvPr id="21" name="Rechteck 20"/>
          <p:cNvSpPr/>
          <p:nvPr/>
        </p:nvSpPr>
        <p:spPr>
          <a:xfrm>
            <a:off x="6096000" y="4453681"/>
            <a:ext cx="1441100" cy="430887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/>
          <a:p>
            <a:r>
              <a:rPr lang="de-DE" sz="2800" dirty="0">
                <a:solidFill>
                  <a:schemeClr val="accent2"/>
                </a:solidFill>
              </a:rPr>
              <a:t>280 Mio. </a:t>
            </a:r>
          </a:p>
        </p:txBody>
      </p:sp>
      <p:sp>
        <p:nvSpPr>
          <p:cNvPr id="24" name="Rechteck 23"/>
          <p:cNvSpPr/>
          <p:nvPr/>
        </p:nvSpPr>
        <p:spPr>
          <a:xfrm>
            <a:off x="6101647" y="5630530"/>
            <a:ext cx="1659109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de-DE" sz="1400" dirty="0"/>
              <a:t>der Kaufkraft der EU</a:t>
            </a:r>
          </a:p>
        </p:txBody>
      </p:sp>
      <p:sp>
        <p:nvSpPr>
          <p:cNvPr id="25" name="Rechteck 24"/>
          <p:cNvSpPr/>
          <p:nvPr/>
        </p:nvSpPr>
        <p:spPr>
          <a:xfrm>
            <a:off x="6096000" y="5224447"/>
            <a:ext cx="655629" cy="430887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/>
          <a:p>
            <a:r>
              <a:rPr lang="de-DE" sz="2800" dirty="0">
                <a:solidFill>
                  <a:schemeClr val="accent4"/>
                </a:solidFill>
              </a:rPr>
              <a:t>70%</a:t>
            </a:r>
          </a:p>
        </p:txBody>
      </p:sp>
      <p:sp>
        <p:nvSpPr>
          <p:cNvPr id="26" name="Rechteck 25"/>
          <p:cNvSpPr/>
          <p:nvPr/>
        </p:nvSpPr>
        <p:spPr>
          <a:xfrm>
            <a:off x="8852503" y="4859764"/>
            <a:ext cx="1761701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de-DE" sz="1400" dirty="0"/>
              <a:t>des europäischen BIP</a:t>
            </a:r>
          </a:p>
        </p:txBody>
      </p:sp>
      <p:sp>
        <p:nvSpPr>
          <p:cNvPr id="27" name="Rechteck 26"/>
          <p:cNvSpPr/>
          <p:nvPr/>
        </p:nvSpPr>
        <p:spPr>
          <a:xfrm>
            <a:off x="8846856" y="4453681"/>
            <a:ext cx="655629" cy="430887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/>
          <a:p>
            <a:r>
              <a:rPr lang="de-DE" sz="2800" dirty="0">
                <a:solidFill>
                  <a:schemeClr val="accent5"/>
                </a:solidFill>
              </a:rPr>
              <a:t>70%</a:t>
            </a:r>
          </a:p>
        </p:txBody>
      </p:sp>
      <p:sp>
        <p:nvSpPr>
          <p:cNvPr id="28" name="Rechteck 27"/>
          <p:cNvSpPr/>
          <p:nvPr/>
        </p:nvSpPr>
        <p:spPr>
          <a:xfrm>
            <a:off x="8852503" y="5630530"/>
            <a:ext cx="1796967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de-DE" sz="1400" dirty="0"/>
              <a:t>der europäischen F&amp;E</a:t>
            </a:r>
          </a:p>
        </p:txBody>
      </p:sp>
      <p:sp>
        <p:nvSpPr>
          <p:cNvPr id="29" name="Rechteck 28"/>
          <p:cNvSpPr/>
          <p:nvPr/>
        </p:nvSpPr>
        <p:spPr>
          <a:xfrm>
            <a:off x="8846856" y="5224447"/>
            <a:ext cx="694101" cy="430887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/>
          <a:p>
            <a:r>
              <a:rPr lang="de-DE" sz="2800" dirty="0">
                <a:solidFill>
                  <a:schemeClr val="accent3"/>
                </a:solidFill>
              </a:rPr>
              <a:t>80%</a:t>
            </a:r>
          </a:p>
        </p:txBody>
      </p:sp>
      <p:pic>
        <p:nvPicPr>
          <p:cNvPr id="31" name="Bildplatzhalter 10"/>
          <p:cNvPicPr>
            <a:picLocks noGrp="1" noChangeAspect="1"/>
          </p:cNvPicPr>
          <p:nvPr>
            <p:ph type="pic" sz="quarter" idx="14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8" b="1168"/>
          <a:stretch>
            <a:fillRect/>
          </a:stretch>
        </p:blipFill>
        <p:spPr>
          <a:xfrm>
            <a:off x="1" y="0"/>
            <a:ext cx="5364162" cy="6858000"/>
          </a:xfrm>
          <a:ln>
            <a:solidFill>
              <a:schemeClr val="bg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7665765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340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pic>
        <p:nvPicPr>
          <p:cNvPr id="68" name="Picture 46"/>
          <p:cNvPicPr>
            <a:picLocks noChangeAspect="1" noChangeArrowheads="1"/>
          </p:cNvPicPr>
          <p:nvPr/>
        </p:nvPicPr>
        <p:blipFill rotWithShape="1">
          <a:blip r:embed="rId6" cstate="print">
            <a:grayscl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389243" y="4898342"/>
            <a:ext cx="581981" cy="4587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731838" y="89462"/>
            <a:ext cx="10728325" cy="887810"/>
          </a:xfrm>
        </p:spPr>
        <p:txBody>
          <a:bodyPr/>
          <a:lstStyle/>
          <a:p>
            <a:r>
              <a:rPr lang="de-DE" dirty="0"/>
              <a:t>Unsere Erfolgsgeschichten</a:t>
            </a:r>
            <a:br>
              <a:rPr lang="de-DE" dirty="0"/>
            </a:br>
            <a:r>
              <a:rPr lang="de-DE" sz="2200" dirty="0"/>
              <a:t>1993 </a:t>
            </a:r>
            <a:r>
              <a:rPr lang="de-DE" sz="2200"/>
              <a:t>- 2023</a:t>
            </a:r>
            <a:endParaRPr lang="de-DE" sz="220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577019" y="6568973"/>
            <a:ext cx="9782719" cy="153888"/>
          </a:xfrm>
        </p:spPr>
        <p:txBody>
          <a:bodyPr/>
          <a:lstStyle/>
          <a:p>
            <a:r>
              <a:rPr lang="de-DE"/>
              <a:t>Stand 2023 </a:t>
            </a:r>
            <a:r>
              <a:rPr lang="de-DE" dirty="0"/>
              <a:t>lt. LEG.Portal - IID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13123D-ADC2-423E-8E38-66EF22156AFA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2" name="Rechteck 1"/>
          <p:cNvSpPr>
            <a:spLocks/>
          </p:cNvSpPr>
          <p:nvPr/>
        </p:nvSpPr>
        <p:spPr>
          <a:xfrm>
            <a:off x="731838" y="1772181"/>
            <a:ext cx="1275362" cy="60583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79" name="Text Box 28"/>
          <p:cNvSpPr txBox="1">
            <a:spLocks noChangeArrowheads="1"/>
          </p:cNvSpPr>
          <p:nvPr/>
        </p:nvSpPr>
        <p:spPr bwMode="auto">
          <a:xfrm>
            <a:off x="2548360" y="3612877"/>
            <a:ext cx="815826" cy="2096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5674" tIns="42837" rIns="85674" bIns="42837">
            <a:spAutoFit/>
          </a:bodyPr>
          <a:lstStyle>
            <a:lvl1pPr defTabSz="8572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8572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8572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8572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8572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8572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8572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8572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8572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e-DE" sz="800" dirty="0">
                <a:solidFill>
                  <a:srgbClr val="AC0056"/>
                </a:solidFill>
                <a:latin typeface="Arial Black" pitchFamily="34" charset="0"/>
              </a:rPr>
              <a:t>MDC Power</a:t>
            </a:r>
            <a:endParaRPr lang="de-DE" sz="800" dirty="0">
              <a:solidFill>
                <a:srgbClr val="AC0056"/>
              </a:solidFill>
              <a:latin typeface="Times New Roman" pitchFamily="18" charset="0"/>
            </a:endParaRPr>
          </a:p>
        </p:txBody>
      </p:sp>
      <p:pic>
        <p:nvPicPr>
          <p:cNvPr id="80" name="Grafik 79"/>
          <p:cNvPicPr>
            <a:picLocks noChangeAspect="1"/>
          </p:cNvPicPr>
          <p:nvPr/>
        </p:nvPicPr>
        <p:blipFill rotWithShape="1">
          <a:blip r:embed="rId8">
            <a:grayscl/>
          </a:blip>
          <a:srcRect l="26087" t="16453" r="24644" b="14324"/>
          <a:stretch/>
        </p:blipFill>
        <p:spPr>
          <a:xfrm>
            <a:off x="2188951" y="3333117"/>
            <a:ext cx="455316" cy="479023"/>
          </a:xfrm>
          <a:prstGeom prst="rect">
            <a:avLst/>
          </a:prstGeom>
          <a:noFill/>
          <a:ln>
            <a:noFill/>
          </a:ln>
        </p:spPr>
      </p:pic>
      <p:sp>
        <p:nvSpPr>
          <p:cNvPr id="87" name="Rechteck 86"/>
          <p:cNvSpPr>
            <a:spLocks/>
          </p:cNvSpPr>
          <p:nvPr/>
        </p:nvSpPr>
        <p:spPr>
          <a:xfrm>
            <a:off x="2151200" y="1772181"/>
            <a:ext cx="1275362" cy="60583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88" name="Rechteck 87"/>
          <p:cNvSpPr>
            <a:spLocks/>
          </p:cNvSpPr>
          <p:nvPr/>
        </p:nvSpPr>
        <p:spPr>
          <a:xfrm>
            <a:off x="3570562" y="1772181"/>
            <a:ext cx="1275362" cy="60583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89" name="Rechteck 88"/>
          <p:cNvSpPr>
            <a:spLocks/>
          </p:cNvSpPr>
          <p:nvPr/>
        </p:nvSpPr>
        <p:spPr>
          <a:xfrm>
            <a:off x="4989924" y="1772181"/>
            <a:ext cx="1275362" cy="60583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90" name="Rechteck 89"/>
          <p:cNvSpPr>
            <a:spLocks/>
          </p:cNvSpPr>
          <p:nvPr/>
        </p:nvSpPr>
        <p:spPr>
          <a:xfrm>
            <a:off x="6409286" y="1772181"/>
            <a:ext cx="1275362" cy="60583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91" name="Rechteck 90"/>
          <p:cNvSpPr>
            <a:spLocks/>
          </p:cNvSpPr>
          <p:nvPr/>
        </p:nvSpPr>
        <p:spPr>
          <a:xfrm>
            <a:off x="731838" y="2522018"/>
            <a:ext cx="1275362" cy="60583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92" name="Rechteck 91"/>
          <p:cNvSpPr/>
          <p:nvPr/>
        </p:nvSpPr>
        <p:spPr>
          <a:xfrm>
            <a:off x="2151200" y="2522018"/>
            <a:ext cx="1275362" cy="60583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93" name="Rechteck 92"/>
          <p:cNvSpPr/>
          <p:nvPr/>
        </p:nvSpPr>
        <p:spPr>
          <a:xfrm>
            <a:off x="3570562" y="2522018"/>
            <a:ext cx="1275362" cy="60583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94" name="Rechteck 93"/>
          <p:cNvSpPr/>
          <p:nvPr/>
        </p:nvSpPr>
        <p:spPr>
          <a:xfrm>
            <a:off x="4989924" y="2522018"/>
            <a:ext cx="1275362" cy="60583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95" name="Rechteck 94"/>
          <p:cNvSpPr/>
          <p:nvPr/>
        </p:nvSpPr>
        <p:spPr>
          <a:xfrm>
            <a:off x="6409286" y="2522018"/>
            <a:ext cx="1275362" cy="60583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96" name="Rechteck 95"/>
          <p:cNvSpPr>
            <a:spLocks/>
          </p:cNvSpPr>
          <p:nvPr/>
        </p:nvSpPr>
        <p:spPr>
          <a:xfrm>
            <a:off x="731838" y="3271855"/>
            <a:ext cx="1275362" cy="60583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97" name="Rechteck 96"/>
          <p:cNvSpPr/>
          <p:nvPr/>
        </p:nvSpPr>
        <p:spPr>
          <a:xfrm>
            <a:off x="2151200" y="3271855"/>
            <a:ext cx="1275362" cy="60583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98" name="Rechteck 97"/>
          <p:cNvSpPr/>
          <p:nvPr/>
        </p:nvSpPr>
        <p:spPr>
          <a:xfrm>
            <a:off x="3570562" y="3271855"/>
            <a:ext cx="1275362" cy="60583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99" name="Rechteck 98"/>
          <p:cNvSpPr/>
          <p:nvPr/>
        </p:nvSpPr>
        <p:spPr>
          <a:xfrm>
            <a:off x="4989924" y="3271855"/>
            <a:ext cx="1275362" cy="60583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00" name="Rechteck 99"/>
          <p:cNvSpPr/>
          <p:nvPr/>
        </p:nvSpPr>
        <p:spPr>
          <a:xfrm>
            <a:off x="6409286" y="3271855"/>
            <a:ext cx="1275362" cy="60583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01" name="Rechteck 100"/>
          <p:cNvSpPr>
            <a:spLocks/>
          </p:cNvSpPr>
          <p:nvPr/>
        </p:nvSpPr>
        <p:spPr>
          <a:xfrm>
            <a:off x="731838" y="4021693"/>
            <a:ext cx="1275362" cy="60583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02" name="Rechteck 101"/>
          <p:cNvSpPr/>
          <p:nvPr/>
        </p:nvSpPr>
        <p:spPr>
          <a:xfrm>
            <a:off x="2151200" y="4021693"/>
            <a:ext cx="1275362" cy="60583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03" name="Rechteck 102"/>
          <p:cNvSpPr/>
          <p:nvPr/>
        </p:nvSpPr>
        <p:spPr>
          <a:xfrm>
            <a:off x="3570562" y="4021693"/>
            <a:ext cx="1275362" cy="60583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04" name="Rechteck 103"/>
          <p:cNvSpPr/>
          <p:nvPr/>
        </p:nvSpPr>
        <p:spPr>
          <a:xfrm>
            <a:off x="4989924" y="4021693"/>
            <a:ext cx="1275362" cy="60583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05" name="Rechteck 104"/>
          <p:cNvSpPr/>
          <p:nvPr/>
        </p:nvSpPr>
        <p:spPr>
          <a:xfrm>
            <a:off x="6409286" y="4021693"/>
            <a:ext cx="1275362" cy="60583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06" name="Rechteck 105"/>
          <p:cNvSpPr>
            <a:spLocks/>
          </p:cNvSpPr>
          <p:nvPr/>
        </p:nvSpPr>
        <p:spPr>
          <a:xfrm>
            <a:off x="731838" y="4771530"/>
            <a:ext cx="1275362" cy="60583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07" name="Rechteck 106"/>
          <p:cNvSpPr/>
          <p:nvPr/>
        </p:nvSpPr>
        <p:spPr>
          <a:xfrm>
            <a:off x="2151200" y="4771530"/>
            <a:ext cx="1275362" cy="60583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08" name="Rechteck 107"/>
          <p:cNvSpPr/>
          <p:nvPr/>
        </p:nvSpPr>
        <p:spPr>
          <a:xfrm>
            <a:off x="3570562" y="4771530"/>
            <a:ext cx="1275362" cy="60583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09" name="Rechteck 108"/>
          <p:cNvSpPr/>
          <p:nvPr/>
        </p:nvSpPr>
        <p:spPr>
          <a:xfrm>
            <a:off x="4989924" y="4771530"/>
            <a:ext cx="1275362" cy="60583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0" name="Rechteck 109"/>
          <p:cNvSpPr/>
          <p:nvPr/>
        </p:nvSpPr>
        <p:spPr>
          <a:xfrm>
            <a:off x="6409286" y="4771530"/>
            <a:ext cx="1275362" cy="60583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1" name="Rechteck 110"/>
          <p:cNvSpPr>
            <a:spLocks/>
          </p:cNvSpPr>
          <p:nvPr/>
        </p:nvSpPr>
        <p:spPr>
          <a:xfrm>
            <a:off x="731838" y="5521367"/>
            <a:ext cx="1275362" cy="60583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2" name="Rechteck 111"/>
          <p:cNvSpPr/>
          <p:nvPr/>
        </p:nvSpPr>
        <p:spPr>
          <a:xfrm>
            <a:off x="2151200" y="5521367"/>
            <a:ext cx="1275362" cy="60583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3" name="Rechteck 112"/>
          <p:cNvSpPr/>
          <p:nvPr/>
        </p:nvSpPr>
        <p:spPr>
          <a:xfrm>
            <a:off x="3570562" y="5521367"/>
            <a:ext cx="1275362" cy="60583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53550" y="5579377"/>
            <a:ext cx="870664" cy="489816"/>
          </a:xfrm>
          <a:prstGeom prst="rect">
            <a:avLst/>
          </a:prstGeom>
        </p:spPr>
      </p:pic>
      <p:pic>
        <p:nvPicPr>
          <p:cNvPr id="22" name="Grafik 21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91213" y="1848767"/>
            <a:ext cx="556612" cy="452666"/>
          </a:xfrm>
          <a:prstGeom prst="rect">
            <a:avLst/>
          </a:prstGeom>
        </p:spPr>
      </p:pic>
      <p:pic>
        <p:nvPicPr>
          <p:cNvPr id="23" name="Grafik 22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570402" y="1854769"/>
            <a:ext cx="436958" cy="440662"/>
          </a:xfrm>
          <a:prstGeom prst="rect">
            <a:avLst/>
          </a:prstGeom>
        </p:spPr>
      </p:pic>
      <p:pic>
        <p:nvPicPr>
          <p:cNvPr id="24" name="Grafik 23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986725" y="1855355"/>
            <a:ext cx="443036" cy="439490"/>
          </a:xfrm>
          <a:prstGeom prst="rect">
            <a:avLst/>
          </a:prstGeom>
        </p:spPr>
      </p:pic>
      <p:pic>
        <p:nvPicPr>
          <p:cNvPr id="26" name="Grafik 25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499333" y="1946929"/>
            <a:ext cx="1095268" cy="256340"/>
          </a:xfrm>
          <a:prstGeom prst="rect">
            <a:avLst/>
          </a:prstGeom>
        </p:spPr>
      </p:pic>
      <p:pic>
        <p:nvPicPr>
          <p:cNvPr id="27" name="Grafik 26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904184" y="2708640"/>
            <a:ext cx="995188" cy="232592"/>
          </a:xfrm>
          <a:prstGeom prst="rect">
            <a:avLst/>
          </a:prstGeom>
        </p:spPr>
      </p:pic>
      <p:pic>
        <p:nvPicPr>
          <p:cNvPr id="28" name="Grafik 27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2275763" y="2716031"/>
            <a:ext cx="1026238" cy="217812"/>
          </a:xfrm>
          <a:prstGeom prst="rect">
            <a:avLst/>
          </a:prstGeom>
        </p:spPr>
      </p:pic>
      <p:pic>
        <p:nvPicPr>
          <p:cNvPr id="29" name="Grafik 28"/>
          <p:cNvPicPr>
            <a:picLocks noChangeAspect="1"/>
          </p:cNvPicPr>
          <p:nvPr/>
        </p:nvPicPr>
        <p:blipFill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647636" y="2640921"/>
            <a:ext cx="1121214" cy="368032"/>
          </a:xfrm>
          <a:prstGeom prst="rect">
            <a:avLst/>
          </a:prstGeom>
        </p:spPr>
      </p:pic>
      <p:pic>
        <p:nvPicPr>
          <p:cNvPr id="30" name="Grafik 29"/>
          <p:cNvPicPr>
            <a:picLocks noChangeAspect="1"/>
          </p:cNvPicPr>
          <p:nvPr/>
        </p:nvPicPr>
        <p:blipFill rotWithShape="1">
          <a:blip r:embed="rId18"/>
          <a:srcRect r="50717"/>
          <a:stretch/>
        </p:blipFill>
        <p:spPr>
          <a:xfrm>
            <a:off x="5106938" y="2579762"/>
            <a:ext cx="1057440" cy="477333"/>
          </a:xfrm>
          <a:prstGeom prst="rect">
            <a:avLst/>
          </a:prstGeom>
        </p:spPr>
      </p:pic>
      <p:pic>
        <p:nvPicPr>
          <p:cNvPr id="31" name="Grafik 30"/>
          <p:cNvPicPr>
            <a:picLocks noChangeAspect="1"/>
          </p:cNvPicPr>
          <p:nvPr/>
        </p:nvPicPr>
        <p:blipFill rotWithShape="1">
          <a:blip r:embed="rId19"/>
          <a:srcRect t="17188" b="19295"/>
          <a:stretch/>
        </p:blipFill>
        <p:spPr>
          <a:xfrm>
            <a:off x="6579349" y="2603101"/>
            <a:ext cx="935236" cy="443671"/>
          </a:xfrm>
          <a:prstGeom prst="rect">
            <a:avLst/>
          </a:prstGeom>
        </p:spPr>
      </p:pic>
      <p:pic>
        <p:nvPicPr>
          <p:cNvPr id="32" name="Grafik 31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954984" y="3462582"/>
            <a:ext cx="893588" cy="224382"/>
          </a:xfrm>
          <a:prstGeom prst="rect">
            <a:avLst/>
          </a:prstGeom>
        </p:spPr>
      </p:pic>
      <p:pic>
        <p:nvPicPr>
          <p:cNvPr id="167" name="Picture 6" descr="T:\LEG-Darstellung\Logo\andere Logos\FIRMEN - Rechte fragen\IHI\ihi.jp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3986" y="3493673"/>
            <a:ext cx="1108514" cy="162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Grafik 32"/>
          <p:cNvPicPr>
            <a:picLocks noChangeAspect="1"/>
          </p:cNvPicPr>
          <p:nvPr/>
        </p:nvPicPr>
        <p:blipFill>
          <a:blip r:embed="rId2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012826" y="3502117"/>
            <a:ext cx="1224000" cy="152618"/>
          </a:xfrm>
          <a:prstGeom prst="rect">
            <a:avLst/>
          </a:prstGeom>
        </p:spPr>
      </p:pic>
      <p:pic>
        <p:nvPicPr>
          <p:cNvPr id="169" name="Picture 29" descr="Bildergebnis fÃ¼r mubea logo"/>
          <p:cNvPicPr>
            <a:picLocks noChangeAspect="1" noChangeArrowheads="1"/>
          </p:cNvPicPr>
          <p:nvPr/>
        </p:nvPicPr>
        <p:blipFill rotWithShape="1">
          <a:blip r:embed="rId2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398"/>
          <a:stretch/>
        </p:blipFill>
        <p:spPr bwMode="auto">
          <a:xfrm>
            <a:off x="6537647" y="3355311"/>
            <a:ext cx="1018640" cy="438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0" name="Picture 32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78784" y="4241801"/>
            <a:ext cx="1045988" cy="1656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Grafik 34"/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2240202" y="4242893"/>
            <a:ext cx="1097358" cy="163436"/>
          </a:xfrm>
          <a:prstGeom prst="rect">
            <a:avLst/>
          </a:prstGeom>
        </p:spPr>
      </p:pic>
      <p:pic>
        <p:nvPicPr>
          <p:cNvPr id="36" name="Grafik 35"/>
          <p:cNvPicPr>
            <a:picLocks noChangeAspect="1"/>
          </p:cNvPicPr>
          <p:nvPr/>
        </p:nvPicPr>
        <p:blipFill>
          <a:blip r:embed="rId2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709521" y="4109144"/>
            <a:ext cx="997443" cy="430934"/>
          </a:xfrm>
          <a:prstGeom prst="rect">
            <a:avLst/>
          </a:prstGeom>
        </p:spPr>
      </p:pic>
      <p:pic>
        <p:nvPicPr>
          <p:cNvPr id="37" name="Grafik 36"/>
          <p:cNvPicPr>
            <a:picLocks noChangeAspect="1"/>
          </p:cNvPicPr>
          <p:nvPr/>
        </p:nvPicPr>
        <p:blipFill>
          <a:blip r:embed="rId2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087773" y="4191830"/>
            <a:ext cx="1079666" cy="265562"/>
          </a:xfrm>
          <a:prstGeom prst="rect">
            <a:avLst/>
          </a:prstGeom>
        </p:spPr>
      </p:pic>
      <p:pic>
        <p:nvPicPr>
          <p:cNvPr id="38" name="Grafik 37"/>
          <p:cNvPicPr>
            <a:picLocks noChangeAspect="1"/>
          </p:cNvPicPr>
          <p:nvPr/>
        </p:nvPicPr>
        <p:blipFill>
          <a:blip r:embed="rId2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512033" y="4188722"/>
            <a:ext cx="1069868" cy="271780"/>
          </a:xfrm>
          <a:prstGeom prst="rect">
            <a:avLst/>
          </a:prstGeom>
        </p:spPr>
      </p:pic>
      <p:pic>
        <p:nvPicPr>
          <p:cNvPr id="172" name="Picture 8"/>
          <p:cNvPicPr>
            <a:picLocks noChangeAspect="1" noChangeArrowheads="1"/>
          </p:cNvPicPr>
          <p:nvPr/>
        </p:nvPicPr>
        <p:blipFill>
          <a:blip r:embed="rId29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30">
                    <a14:imgEffect>
                      <a14:brightnessContrast bright="3000" contrast="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3526" y="4833819"/>
            <a:ext cx="1216052" cy="4468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5" name="Picture 2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0408" y="4955613"/>
            <a:ext cx="1154393" cy="2376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" name="Grafik 38"/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6626333" y="4911833"/>
            <a:ext cx="841268" cy="325232"/>
          </a:xfrm>
          <a:prstGeom prst="rect">
            <a:avLst/>
          </a:prstGeom>
        </p:spPr>
      </p:pic>
      <p:pic>
        <p:nvPicPr>
          <p:cNvPr id="40" name="Grafik 39"/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878784" y="5722071"/>
            <a:ext cx="1045988" cy="204428"/>
          </a:xfrm>
          <a:prstGeom prst="rect">
            <a:avLst/>
          </a:prstGeom>
        </p:spPr>
      </p:pic>
      <p:grpSp>
        <p:nvGrpSpPr>
          <p:cNvPr id="48" name="Gruppieren 47"/>
          <p:cNvGrpSpPr/>
          <p:nvPr/>
        </p:nvGrpSpPr>
        <p:grpSpPr>
          <a:xfrm>
            <a:off x="8311480" y="2232988"/>
            <a:ext cx="3136174" cy="925701"/>
            <a:chOff x="8311480" y="1922468"/>
            <a:chExt cx="3136174" cy="925701"/>
          </a:xfrm>
        </p:grpSpPr>
        <p:sp>
          <p:nvSpPr>
            <p:cNvPr id="168962" name="Rechteck 168961"/>
            <p:cNvSpPr/>
            <p:nvPr/>
          </p:nvSpPr>
          <p:spPr>
            <a:xfrm>
              <a:off x="8318042" y="1922468"/>
              <a:ext cx="1406154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3600" kern="0" spc="300">
                  <a:solidFill>
                    <a:schemeClr val="tx2"/>
                  </a:solidFill>
                </a:rPr>
                <a:t>1.780</a:t>
              </a:r>
              <a:endParaRPr lang="de-DE" sz="3600" spc="300" dirty="0">
                <a:solidFill>
                  <a:schemeClr val="tx2"/>
                </a:solidFill>
              </a:endParaRPr>
            </a:p>
          </p:txBody>
        </p:sp>
        <p:sp>
          <p:nvSpPr>
            <p:cNvPr id="180" name="Rechteck 179"/>
            <p:cNvSpPr/>
            <p:nvPr/>
          </p:nvSpPr>
          <p:spPr>
            <a:xfrm>
              <a:off x="8311480" y="2540392"/>
              <a:ext cx="885179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400" kern="0" dirty="0"/>
                <a:t>Projekte</a:t>
              </a:r>
              <a:endParaRPr lang="de-DE" sz="1400" dirty="0"/>
            </a:p>
          </p:txBody>
        </p:sp>
        <p:cxnSp>
          <p:nvCxnSpPr>
            <p:cNvPr id="42" name="Gerader Verbinder 41"/>
            <p:cNvCxnSpPr/>
            <p:nvPr/>
          </p:nvCxnSpPr>
          <p:spPr>
            <a:xfrm>
              <a:off x="8387654" y="2510473"/>
              <a:ext cx="306000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Rechteck 43"/>
            <p:cNvSpPr/>
            <p:nvPr/>
          </p:nvSpPr>
          <p:spPr>
            <a:xfrm>
              <a:off x="10697091" y="2432750"/>
              <a:ext cx="590034" cy="15805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87" name="Freeform 137">
              <a:extLst>
                <a:ext uri="{FF2B5EF4-FFF2-40B4-BE49-F238E27FC236}">
                  <a16:creationId xmlns:a16="http://schemas.microsoft.com/office/drawing/2014/main" id="{FCCE73C6-AECC-4AE5-88FD-F1D2FEFD00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56101" y="2181544"/>
              <a:ext cx="472015" cy="377614"/>
            </a:xfrm>
            <a:custGeom>
              <a:avLst/>
              <a:gdLst>
                <a:gd name="T0" fmla="*/ 470 w 497"/>
                <a:gd name="T1" fmla="*/ 124 h 400"/>
                <a:gd name="T2" fmla="*/ 470 w 497"/>
                <a:gd name="T3" fmla="*/ 124 h 400"/>
                <a:gd name="T4" fmla="*/ 26 w 497"/>
                <a:gd name="T5" fmla="*/ 124 h 400"/>
                <a:gd name="T6" fmla="*/ 0 w 497"/>
                <a:gd name="T7" fmla="*/ 151 h 400"/>
                <a:gd name="T8" fmla="*/ 18 w 497"/>
                <a:gd name="T9" fmla="*/ 372 h 400"/>
                <a:gd name="T10" fmla="*/ 44 w 497"/>
                <a:gd name="T11" fmla="*/ 399 h 400"/>
                <a:gd name="T12" fmla="*/ 452 w 497"/>
                <a:gd name="T13" fmla="*/ 399 h 400"/>
                <a:gd name="T14" fmla="*/ 479 w 497"/>
                <a:gd name="T15" fmla="*/ 372 h 400"/>
                <a:gd name="T16" fmla="*/ 496 w 497"/>
                <a:gd name="T17" fmla="*/ 151 h 400"/>
                <a:gd name="T18" fmla="*/ 470 w 497"/>
                <a:gd name="T19" fmla="*/ 124 h 400"/>
                <a:gd name="T20" fmla="*/ 461 w 497"/>
                <a:gd name="T21" fmla="*/ 71 h 400"/>
                <a:gd name="T22" fmla="*/ 461 w 497"/>
                <a:gd name="T23" fmla="*/ 71 h 400"/>
                <a:gd name="T24" fmla="*/ 426 w 497"/>
                <a:gd name="T25" fmla="*/ 53 h 400"/>
                <a:gd name="T26" fmla="*/ 257 w 497"/>
                <a:gd name="T27" fmla="*/ 53 h 400"/>
                <a:gd name="T28" fmla="*/ 213 w 497"/>
                <a:gd name="T29" fmla="*/ 36 h 400"/>
                <a:gd name="T30" fmla="*/ 204 w 497"/>
                <a:gd name="T31" fmla="*/ 18 h 400"/>
                <a:gd name="T32" fmla="*/ 160 w 497"/>
                <a:gd name="T33" fmla="*/ 0 h 400"/>
                <a:gd name="T34" fmla="*/ 79 w 497"/>
                <a:gd name="T35" fmla="*/ 0 h 400"/>
                <a:gd name="T36" fmla="*/ 44 w 497"/>
                <a:gd name="T37" fmla="*/ 27 h 400"/>
                <a:gd name="T38" fmla="*/ 44 w 497"/>
                <a:gd name="T39" fmla="*/ 89 h 400"/>
                <a:gd name="T40" fmla="*/ 461 w 497"/>
                <a:gd name="T41" fmla="*/ 89 h 400"/>
                <a:gd name="T42" fmla="*/ 461 w 497"/>
                <a:gd name="T43" fmla="*/ 71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97" h="400">
                  <a:moveTo>
                    <a:pt x="470" y="124"/>
                  </a:moveTo>
                  <a:lnTo>
                    <a:pt x="470" y="124"/>
                  </a:lnTo>
                  <a:cubicBezTo>
                    <a:pt x="26" y="124"/>
                    <a:pt x="26" y="124"/>
                    <a:pt x="26" y="124"/>
                  </a:cubicBezTo>
                  <a:cubicBezTo>
                    <a:pt x="0" y="124"/>
                    <a:pt x="0" y="133"/>
                    <a:pt x="0" y="151"/>
                  </a:cubicBezTo>
                  <a:cubicBezTo>
                    <a:pt x="18" y="372"/>
                    <a:pt x="18" y="372"/>
                    <a:pt x="18" y="372"/>
                  </a:cubicBezTo>
                  <a:cubicBezTo>
                    <a:pt x="18" y="381"/>
                    <a:pt x="26" y="399"/>
                    <a:pt x="44" y="399"/>
                  </a:cubicBezTo>
                  <a:cubicBezTo>
                    <a:pt x="452" y="399"/>
                    <a:pt x="452" y="399"/>
                    <a:pt x="452" y="399"/>
                  </a:cubicBezTo>
                  <a:cubicBezTo>
                    <a:pt x="470" y="399"/>
                    <a:pt x="470" y="381"/>
                    <a:pt x="479" y="372"/>
                  </a:cubicBezTo>
                  <a:cubicBezTo>
                    <a:pt x="496" y="151"/>
                    <a:pt x="496" y="151"/>
                    <a:pt x="496" y="151"/>
                  </a:cubicBezTo>
                  <a:cubicBezTo>
                    <a:pt x="496" y="133"/>
                    <a:pt x="496" y="124"/>
                    <a:pt x="470" y="124"/>
                  </a:cubicBezTo>
                  <a:close/>
                  <a:moveTo>
                    <a:pt x="461" y="71"/>
                  </a:moveTo>
                  <a:lnTo>
                    <a:pt x="461" y="71"/>
                  </a:lnTo>
                  <a:cubicBezTo>
                    <a:pt x="452" y="62"/>
                    <a:pt x="443" y="53"/>
                    <a:pt x="426" y="53"/>
                  </a:cubicBezTo>
                  <a:cubicBezTo>
                    <a:pt x="257" y="53"/>
                    <a:pt x="257" y="53"/>
                    <a:pt x="257" y="53"/>
                  </a:cubicBezTo>
                  <a:cubicBezTo>
                    <a:pt x="239" y="53"/>
                    <a:pt x="222" y="44"/>
                    <a:pt x="213" y="36"/>
                  </a:cubicBezTo>
                  <a:cubicBezTo>
                    <a:pt x="204" y="18"/>
                    <a:pt x="204" y="18"/>
                    <a:pt x="204" y="18"/>
                  </a:cubicBezTo>
                  <a:cubicBezTo>
                    <a:pt x="186" y="8"/>
                    <a:pt x="169" y="0"/>
                    <a:pt x="160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62" y="0"/>
                    <a:pt x="53" y="8"/>
                    <a:pt x="44" y="27"/>
                  </a:cubicBezTo>
                  <a:cubicBezTo>
                    <a:pt x="44" y="89"/>
                    <a:pt x="44" y="89"/>
                    <a:pt x="44" y="89"/>
                  </a:cubicBezTo>
                  <a:cubicBezTo>
                    <a:pt x="461" y="89"/>
                    <a:pt x="461" y="89"/>
                    <a:pt x="461" y="89"/>
                  </a:cubicBezTo>
                  <a:lnTo>
                    <a:pt x="461" y="71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ffectLst/>
          </p:spPr>
          <p:txBody>
            <a:bodyPr wrap="none" lIns="34290" tIns="17145" rIns="34290" bIns="17145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  <a:ea typeface="+mn-ea"/>
              </a:endParaRPr>
            </a:p>
          </p:txBody>
        </p:sp>
      </p:grpSp>
      <p:grpSp>
        <p:nvGrpSpPr>
          <p:cNvPr id="47" name="Gruppieren 46"/>
          <p:cNvGrpSpPr/>
          <p:nvPr/>
        </p:nvGrpSpPr>
        <p:grpSpPr>
          <a:xfrm>
            <a:off x="8311480" y="3412259"/>
            <a:ext cx="3136174" cy="925701"/>
            <a:chOff x="8311480" y="3437020"/>
            <a:chExt cx="3136174" cy="925701"/>
          </a:xfrm>
        </p:grpSpPr>
        <p:sp>
          <p:nvSpPr>
            <p:cNvPr id="197" name="Rechteck 196"/>
            <p:cNvSpPr/>
            <p:nvPr/>
          </p:nvSpPr>
          <p:spPr>
            <a:xfrm>
              <a:off x="8318042" y="3437020"/>
              <a:ext cx="1757212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3600" kern="0" spc="300">
                  <a:solidFill>
                    <a:schemeClr val="accent2"/>
                  </a:solidFill>
                </a:rPr>
                <a:t>87.800</a:t>
              </a:r>
              <a:endParaRPr lang="de-DE" sz="3600" spc="300" dirty="0">
                <a:solidFill>
                  <a:schemeClr val="accent2"/>
                </a:solidFill>
              </a:endParaRPr>
            </a:p>
          </p:txBody>
        </p:sp>
        <p:sp>
          <p:nvSpPr>
            <p:cNvPr id="198" name="Rechteck 197"/>
            <p:cNvSpPr/>
            <p:nvPr/>
          </p:nvSpPr>
          <p:spPr>
            <a:xfrm>
              <a:off x="8311480" y="4054944"/>
              <a:ext cx="54053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400" kern="0" dirty="0"/>
                <a:t>Jobs</a:t>
              </a:r>
              <a:endParaRPr lang="de-DE" sz="1400" dirty="0"/>
            </a:p>
          </p:txBody>
        </p:sp>
        <p:cxnSp>
          <p:nvCxnSpPr>
            <p:cNvPr id="199" name="Gerader Verbinder 198"/>
            <p:cNvCxnSpPr/>
            <p:nvPr/>
          </p:nvCxnSpPr>
          <p:spPr>
            <a:xfrm>
              <a:off x="8387654" y="4025025"/>
              <a:ext cx="3060000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0" name="Rechteck 199"/>
            <p:cNvSpPr/>
            <p:nvPr/>
          </p:nvSpPr>
          <p:spPr>
            <a:xfrm>
              <a:off x="10697091" y="3947302"/>
              <a:ext cx="590034" cy="15805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86" name="Freeform 97">
              <a:extLst>
                <a:ext uri="{FF2B5EF4-FFF2-40B4-BE49-F238E27FC236}">
                  <a16:creationId xmlns:a16="http://schemas.microsoft.com/office/drawing/2014/main" id="{6A95FBB2-35A1-40A0-9590-D0E26DC8A1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82819" y="3687971"/>
              <a:ext cx="447156" cy="383730"/>
            </a:xfrm>
            <a:custGeom>
              <a:avLst/>
              <a:gdLst>
                <a:gd name="T0" fmla="*/ 230 w 497"/>
                <a:gd name="T1" fmla="*/ 231 h 426"/>
                <a:gd name="T2" fmla="*/ 230 w 497"/>
                <a:gd name="T3" fmla="*/ 231 h 426"/>
                <a:gd name="T4" fmla="*/ 274 w 497"/>
                <a:gd name="T5" fmla="*/ 231 h 426"/>
                <a:gd name="T6" fmla="*/ 274 w 497"/>
                <a:gd name="T7" fmla="*/ 275 h 426"/>
                <a:gd name="T8" fmla="*/ 496 w 497"/>
                <a:gd name="T9" fmla="*/ 275 h 426"/>
                <a:gd name="T10" fmla="*/ 487 w 497"/>
                <a:gd name="T11" fmla="*/ 133 h 426"/>
                <a:gd name="T12" fmla="*/ 443 w 497"/>
                <a:gd name="T13" fmla="*/ 80 h 426"/>
                <a:gd name="T14" fmla="*/ 363 w 497"/>
                <a:gd name="T15" fmla="*/ 80 h 426"/>
                <a:gd name="T16" fmla="*/ 337 w 497"/>
                <a:gd name="T17" fmla="*/ 27 h 426"/>
                <a:gd name="T18" fmla="*/ 300 w 497"/>
                <a:gd name="T19" fmla="*/ 0 h 426"/>
                <a:gd name="T20" fmla="*/ 194 w 497"/>
                <a:gd name="T21" fmla="*/ 0 h 426"/>
                <a:gd name="T22" fmla="*/ 168 w 497"/>
                <a:gd name="T23" fmla="*/ 27 h 426"/>
                <a:gd name="T24" fmla="*/ 133 w 497"/>
                <a:gd name="T25" fmla="*/ 80 h 426"/>
                <a:gd name="T26" fmla="*/ 53 w 497"/>
                <a:gd name="T27" fmla="*/ 80 h 426"/>
                <a:gd name="T28" fmla="*/ 9 w 497"/>
                <a:gd name="T29" fmla="*/ 133 h 426"/>
                <a:gd name="T30" fmla="*/ 0 w 497"/>
                <a:gd name="T31" fmla="*/ 275 h 426"/>
                <a:gd name="T32" fmla="*/ 230 w 497"/>
                <a:gd name="T33" fmla="*/ 275 h 426"/>
                <a:gd name="T34" fmla="*/ 230 w 497"/>
                <a:gd name="T35" fmla="*/ 231 h 426"/>
                <a:gd name="T36" fmla="*/ 186 w 497"/>
                <a:gd name="T37" fmla="*/ 53 h 426"/>
                <a:gd name="T38" fmla="*/ 186 w 497"/>
                <a:gd name="T39" fmla="*/ 53 h 426"/>
                <a:gd name="T40" fmla="*/ 212 w 497"/>
                <a:gd name="T41" fmla="*/ 36 h 426"/>
                <a:gd name="T42" fmla="*/ 284 w 497"/>
                <a:gd name="T43" fmla="*/ 36 h 426"/>
                <a:gd name="T44" fmla="*/ 309 w 497"/>
                <a:gd name="T45" fmla="*/ 53 h 426"/>
                <a:gd name="T46" fmla="*/ 319 w 497"/>
                <a:gd name="T47" fmla="*/ 80 h 426"/>
                <a:gd name="T48" fmla="*/ 177 w 497"/>
                <a:gd name="T49" fmla="*/ 80 h 426"/>
                <a:gd name="T50" fmla="*/ 186 w 497"/>
                <a:gd name="T51" fmla="*/ 53 h 426"/>
                <a:gd name="T52" fmla="*/ 274 w 497"/>
                <a:gd name="T53" fmla="*/ 355 h 426"/>
                <a:gd name="T54" fmla="*/ 274 w 497"/>
                <a:gd name="T55" fmla="*/ 355 h 426"/>
                <a:gd name="T56" fmla="*/ 230 w 497"/>
                <a:gd name="T57" fmla="*/ 355 h 426"/>
                <a:gd name="T58" fmla="*/ 230 w 497"/>
                <a:gd name="T59" fmla="*/ 302 h 426"/>
                <a:gd name="T60" fmla="*/ 9 w 497"/>
                <a:gd name="T61" fmla="*/ 302 h 426"/>
                <a:gd name="T62" fmla="*/ 17 w 497"/>
                <a:gd name="T63" fmla="*/ 381 h 426"/>
                <a:gd name="T64" fmla="*/ 62 w 497"/>
                <a:gd name="T65" fmla="*/ 425 h 426"/>
                <a:gd name="T66" fmla="*/ 434 w 497"/>
                <a:gd name="T67" fmla="*/ 425 h 426"/>
                <a:gd name="T68" fmla="*/ 478 w 497"/>
                <a:gd name="T69" fmla="*/ 381 h 426"/>
                <a:gd name="T70" fmla="*/ 487 w 497"/>
                <a:gd name="T71" fmla="*/ 302 h 426"/>
                <a:gd name="T72" fmla="*/ 274 w 497"/>
                <a:gd name="T73" fmla="*/ 302 h 426"/>
                <a:gd name="T74" fmla="*/ 274 w 497"/>
                <a:gd name="T75" fmla="*/ 355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97" h="426">
                  <a:moveTo>
                    <a:pt x="230" y="231"/>
                  </a:moveTo>
                  <a:lnTo>
                    <a:pt x="230" y="231"/>
                  </a:lnTo>
                  <a:cubicBezTo>
                    <a:pt x="274" y="231"/>
                    <a:pt x="274" y="231"/>
                    <a:pt x="274" y="231"/>
                  </a:cubicBezTo>
                  <a:cubicBezTo>
                    <a:pt x="274" y="275"/>
                    <a:pt x="274" y="275"/>
                    <a:pt x="274" y="275"/>
                  </a:cubicBezTo>
                  <a:cubicBezTo>
                    <a:pt x="496" y="275"/>
                    <a:pt x="496" y="275"/>
                    <a:pt x="496" y="275"/>
                  </a:cubicBezTo>
                  <a:cubicBezTo>
                    <a:pt x="496" y="275"/>
                    <a:pt x="496" y="168"/>
                    <a:pt x="487" y="133"/>
                  </a:cubicBezTo>
                  <a:cubicBezTo>
                    <a:pt x="487" y="97"/>
                    <a:pt x="478" y="80"/>
                    <a:pt x="443" y="80"/>
                  </a:cubicBezTo>
                  <a:cubicBezTo>
                    <a:pt x="363" y="80"/>
                    <a:pt x="363" y="80"/>
                    <a:pt x="363" y="80"/>
                  </a:cubicBezTo>
                  <a:cubicBezTo>
                    <a:pt x="345" y="53"/>
                    <a:pt x="337" y="27"/>
                    <a:pt x="337" y="27"/>
                  </a:cubicBezTo>
                  <a:cubicBezTo>
                    <a:pt x="328" y="9"/>
                    <a:pt x="319" y="0"/>
                    <a:pt x="300" y="0"/>
                  </a:cubicBezTo>
                  <a:cubicBezTo>
                    <a:pt x="194" y="0"/>
                    <a:pt x="194" y="0"/>
                    <a:pt x="194" y="0"/>
                  </a:cubicBezTo>
                  <a:cubicBezTo>
                    <a:pt x="177" y="0"/>
                    <a:pt x="168" y="9"/>
                    <a:pt x="168" y="27"/>
                  </a:cubicBezTo>
                  <a:cubicBezTo>
                    <a:pt x="159" y="27"/>
                    <a:pt x="150" y="53"/>
                    <a:pt x="133" y="80"/>
                  </a:cubicBezTo>
                  <a:cubicBezTo>
                    <a:pt x="53" y="80"/>
                    <a:pt x="53" y="80"/>
                    <a:pt x="53" y="80"/>
                  </a:cubicBezTo>
                  <a:cubicBezTo>
                    <a:pt x="17" y="80"/>
                    <a:pt x="9" y="97"/>
                    <a:pt x="9" y="133"/>
                  </a:cubicBezTo>
                  <a:cubicBezTo>
                    <a:pt x="0" y="168"/>
                    <a:pt x="0" y="275"/>
                    <a:pt x="0" y="275"/>
                  </a:cubicBezTo>
                  <a:cubicBezTo>
                    <a:pt x="230" y="275"/>
                    <a:pt x="230" y="275"/>
                    <a:pt x="230" y="275"/>
                  </a:cubicBezTo>
                  <a:lnTo>
                    <a:pt x="230" y="231"/>
                  </a:lnTo>
                  <a:close/>
                  <a:moveTo>
                    <a:pt x="186" y="53"/>
                  </a:moveTo>
                  <a:lnTo>
                    <a:pt x="186" y="53"/>
                  </a:lnTo>
                  <a:cubicBezTo>
                    <a:pt x="194" y="44"/>
                    <a:pt x="194" y="36"/>
                    <a:pt x="212" y="36"/>
                  </a:cubicBezTo>
                  <a:cubicBezTo>
                    <a:pt x="284" y="36"/>
                    <a:pt x="284" y="36"/>
                    <a:pt x="284" y="36"/>
                  </a:cubicBezTo>
                  <a:cubicBezTo>
                    <a:pt x="300" y="36"/>
                    <a:pt x="300" y="44"/>
                    <a:pt x="309" y="53"/>
                  </a:cubicBezTo>
                  <a:cubicBezTo>
                    <a:pt x="309" y="53"/>
                    <a:pt x="319" y="71"/>
                    <a:pt x="319" y="80"/>
                  </a:cubicBezTo>
                  <a:cubicBezTo>
                    <a:pt x="177" y="80"/>
                    <a:pt x="177" y="80"/>
                    <a:pt x="177" y="80"/>
                  </a:cubicBezTo>
                  <a:cubicBezTo>
                    <a:pt x="186" y="71"/>
                    <a:pt x="186" y="53"/>
                    <a:pt x="186" y="53"/>
                  </a:cubicBezTo>
                  <a:close/>
                  <a:moveTo>
                    <a:pt x="274" y="355"/>
                  </a:moveTo>
                  <a:lnTo>
                    <a:pt x="274" y="355"/>
                  </a:lnTo>
                  <a:cubicBezTo>
                    <a:pt x="230" y="355"/>
                    <a:pt x="230" y="355"/>
                    <a:pt x="230" y="355"/>
                  </a:cubicBezTo>
                  <a:cubicBezTo>
                    <a:pt x="230" y="302"/>
                    <a:pt x="230" y="302"/>
                    <a:pt x="230" y="302"/>
                  </a:cubicBezTo>
                  <a:cubicBezTo>
                    <a:pt x="9" y="302"/>
                    <a:pt x="9" y="302"/>
                    <a:pt x="9" y="302"/>
                  </a:cubicBezTo>
                  <a:cubicBezTo>
                    <a:pt x="9" y="302"/>
                    <a:pt x="17" y="346"/>
                    <a:pt x="17" y="381"/>
                  </a:cubicBezTo>
                  <a:cubicBezTo>
                    <a:pt x="17" y="399"/>
                    <a:pt x="26" y="425"/>
                    <a:pt x="62" y="425"/>
                  </a:cubicBezTo>
                  <a:cubicBezTo>
                    <a:pt x="434" y="425"/>
                    <a:pt x="434" y="425"/>
                    <a:pt x="434" y="425"/>
                  </a:cubicBezTo>
                  <a:cubicBezTo>
                    <a:pt x="469" y="425"/>
                    <a:pt x="478" y="399"/>
                    <a:pt x="478" y="381"/>
                  </a:cubicBezTo>
                  <a:cubicBezTo>
                    <a:pt x="478" y="346"/>
                    <a:pt x="487" y="302"/>
                    <a:pt x="487" y="302"/>
                  </a:cubicBezTo>
                  <a:cubicBezTo>
                    <a:pt x="274" y="302"/>
                    <a:pt x="274" y="302"/>
                    <a:pt x="274" y="302"/>
                  </a:cubicBezTo>
                  <a:lnTo>
                    <a:pt x="274" y="35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lIns="34290" tIns="17145" rIns="34290" bIns="17145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  <a:ea typeface="+mn-ea"/>
              </a:endParaRPr>
            </a:p>
          </p:txBody>
        </p:sp>
      </p:grpSp>
      <p:grpSp>
        <p:nvGrpSpPr>
          <p:cNvPr id="46" name="Gruppieren 45"/>
          <p:cNvGrpSpPr/>
          <p:nvPr/>
        </p:nvGrpSpPr>
        <p:grpSpPr>
          <a:xfrm>
            <a:off x="8311480" y="4591531"/>
            <a:ext cx="3620108" cy="925701"/>
            <a:chOff x="8311480" y="4951571"/>
            <a:chExt cx="3136174" cy="925701"/>
          </a:xfrm>
        </p:grpSpPr>
        <p:sp>
          <p:nvSpPr>
            <p:cNvPr id="203" name="Rechteck 202"/>
            <p:cNvSpPr/>
            <p:nvPr/>
          </p:nvSpPr>
          <p:spPr>
            <a:xfrm>
              <a:off x="8318042" y="4951571"/>
              <a:ext cx="1708397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3600" kern="0">
                  <a:solidFill>
                    <a:schemeClr val="accent5"/>
                  </a:solidFill>
                </a:rPr>
                <a:t>~ </a:t>
              </a:r>
              <a:r>
                <a:rPr lang="de-DE" sz="3600" kern="0" spc="300">
                  <a:solidFill>
                    <a:schemeClr val="accent5"/>
                  </a:solidFill>
                </a:rPr>
                <a:t>14</a:t>
              </a:r>
              <a:r>
                <a:rPr lang="de-DE" sz="3600" kern="0">
                  <a:solidFill>
                    <a:schemeClr val="accent5"/>
                  </a:solidFill>
                </a:rPr>
                <a:t> </a:t>
              </a:r>
              <a:r>
                <a:rPr lang="de-DE" sz="2000" kern="0" dirty="0">
                  <a:solidFill>
                    <a:schemeClr val="accent5"/>
                  </a:solidFill>
                </a:rPr>
                <a:t>Mrd. € </a:t>
              </a:r>
              <a:endParaRPr lang="de-DE" sz="3600" dirty="0">
                <a:solidFill>
                  <a:schemeClr val="accent5"/>
                </a:solidFill>
              </a:endParaRPr>
            </a:p>
          </p:txBody>
        </p:sp>
        <p:sp>
          <p:nvSpPr>
            <p:cNvPr id="204" name="Rechteck 203"/>
            <p:cNvSpPr/>
            <p:nvPr/>
          </p:nvSpPr>
          <p:spPr>
            <a:xfrm>
              <a:off x="8311480" y="5569495"/>
              <a:ext cx="688009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400" kern="0" dirty="0"/>
                <a:t>Invest</a:t>
              </a:r>
              <a:endParaRPr lang="de-DE" sz="1400" dirty="0"/>
            </a:p>
          </p:txBody>
        </p:sp>
        <p:cxnSp>
          <p:nvCxnSpPr>
            <p:cNvPr id="205" name="Gerader Verbinder 204"/>
            <p:cNvCxnSpPr/>
            <p:nvPr/>
          </p:nvCxnSpPr>
          <p:spPr>
            <a:xfrm>
              <a:off x="8387654" y="5539576"/>
              <a:ext cx="3060000" cy="0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6" name="Rechteck 205"/>
            <p:cNvSpPr/>
            <p:nvPr/>
          </p:nvSpPr>
          <p:spPr>
            <a:xfrm>
              <a:off x="10697091" y="5461853"/>
              <a:ext cx="590034" cy="15805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88" name="Freeform 75">
              <a:extLst>
                <a:ext uri="{FF2B5EF4-FFF2-40B4-BE49-F238E27FC236}">
                  <a16:creationId xmlns:a16="http://schemas.microsoft.com/office/drawing/2014/main" id="{379C32E8-3061-45E6-A1FE-81AE7EFBD9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06605" y="5245470"/>
              <a:ext cx="418636" cy="354466"/>
            </a:xfrm>
            <a:custGeom>
              <a:avLst/>
              <a:gdLst>
                <a:gd name="T0" fmla="*/ 2147483646 w 602"/>
                <a:gd name="T1" fmla="*/ 2147483646 h 510"/>
                <a:gd name="T2" fmla="*/ 2147483646 w 602"/>
                <a:gd name="T3" fmla="*/ 2147483646 h 510"/>
                <a:gd name="T4" fmla="*/ 2147483646 w 602"/>
                <a:gd name="T5" fmla="*/ 2147483646 h 510"/>
                <a:gd name="T6" fmla="*/ 0 w 602"/>
                <a:gd name="T7" fmla="*/ 2147483646 h 510"/>
                <a:gd name="T8" fmla="*/ 0 w 602"/>
                <a:gd name="T9" fmla="*/ 2147483646 h 510"/>
                <a:gd name="T10" fmla="*/ 2147483646 w 602"/>
                <a:gd name="T11" fmla="*/ 0 h 510"/>
                <a:gd name="T12" fmla="*/ 2147483646 w 602"/>
                <a:gd name="T13" fmla="*/ 2147483646 h 510"/>
                <a:gd name="T14" fmla="*/ 2147483646 w 602"/>
                <a:gd name="T15" fmla="*/ 2147483646 h 510"/>
                <a:gd name="T16" fmla="*/ 2147483646 w 602"/>
                <a:gd name="T17" fmla="*/ 2147483646 h 510"/>
                <a:gd name="T18" fmla="*/ 2147483646 w 602"/>
                <a:gd name="T19" fmla="*/ 2147483646 h 510"/>
                <a:gd name="T20" fmla="*/ 2147483646 w 602"/>
                <a:gd name="T21" fmla="*/ 2147483646 h 510"/>
                <a:gd name="T22" fmla="*/ 2147483646 w 602"/>
                <a:gd name="T23" fmla="*/ 2147483646 h 510"/>
                <a:gd name="T24" fmla="*/ 2147483646 w 602"/>
                <a:gd name="T25" fmla="*/ 2147483646 h 510"/>
                <a:gd name="T26" fmla="*/ 2147483646 w 602"/>
                <a:gd name="T27" fmla="*/ 2147483646 h 510"/>
                <a:gd name="T28" fmla="*/ 2147483646 w 602"/>
                <a:gd name="T29" fmla="*/ 2147483646 h 510"/>
                <a:gd name="T30" fmla="*/ 2147483646 w 602"/>
                <a:gd name="T31" fmla="*/ 2147483646 h 510"/>
                <a:gd name="T32" fmla="*/ 2147483646 w 602"/>
                <a:gd name="T33" fmla="*/ 2147483646 h 510"/>
                <a:gd name="T34" fmla="*/ 2147483646 w 602"/>
                <a:gd name="T35" fmla="*/ 2147483646 h 510"/>
                <a:gd name="T36" fmla="*/ 2147483646 w 602"/>
                <a:gd name="T37" fmla="*/ 2147483646 h 510"/>
                <a:gd name="T38" fmla="*/ 2147483646 w 602"/>
                <a:gd name="T39" fmla="*/ 2147483646 h 510"/>
                <a:gd name="T40" fmla="*/ 2147483646 w 602"/>
                <a:gd name="T41" fmla="*/ 2147483646 h 510"/>
                <a:gd name="T42" fmla="*/ 2147483646 w 602"/>
                <a:gd name="T43" fmla="*/ 2147483646 h 510"/>
                <a:gd name="T44" fmla="*/ 2147483646 w 602"/>
                <a:gd name="T45" fmla="*/ 2147483646 h 510"/>
                <a:gd name="T46" fmla="*/ 2147483646 w 602"/>
                <a:gd name="T47" fmla="*/ 2147483646 h 510"/>
                <a:gd name="T48" fmla="*/ 2147483646 w 602"/>
                <a:gd name="T49" fmla="*/ 2147483646 h 510"/>
                <a:gd name="T50" fmla="*/ 2147483646 w 602"/>
                <a:gd name="T51" fmla="*/ 2147483646 h 510"/>
                <a:gd name="T52" fmla="*/ 2147483646 w 602"/>
                <a:gd name="T53" fmla="*/ 2147483646 h 510"/>
                <a:gd name="T54" fmla="*/ 2147483646 w 602"/>
                <a:gd name="T55" fmla="*/ 2147483646 h 510"/>
                <a:gd name="T56" fmla="*/ 2147483646 w 602"/>
                <a:gd name="T57" fmla="*/ 2147483646 h 510"/>
                <a:gd name="T58" fmla="*/ 2147483646 w 602"/>
                <a:gd name="T59" fmla="*/ 2147483646 h 510"/>
                <a:gd name="T60" fmla="*/ 2147483646 w 602"/>
                <a:gd name="T61" fmla="*/ 2147483646 h 510"/>
                <a:gd name="T62" fmla="*/ 2147483646 w 602"/>
                <a:gd name="T63" fmla="*/ 2147483646 h 510"/>
                <a:gd name="T64" fmla="*/ 2147483646 w 602"/>
                <a:gd name="T65" fmla="*/ 2147483646 h 510"/>
                <a:gd name="T66" fmla="*/ 2147483646 w 602"/>
                <a:gd name="T67" fmla="*/ 2147483646 h 510"/>
                <a:gd name="T68" fmla="*/ 2147483646 w 602"/>
                <a:gd name="T69" fmla="*/ 2147483646 h 510"/>
                <a:gd name="T70" fmla="*/ 2147483646 w 602"/>
                <a:gd name="T71" fmla="*/ 2147483646 h 510"/>
                <a:gd name="T72" fmla="*/ 2147483646 w 602"/>
                <a:gd name="T73" fmla="*/ 2147483646 h 510"/>
                <a:gd name="T74" fmla="*/ 2147483646 w 602"/>
                <a:gd name="T75" fmla="*/ 2147483646 h 510"/>
                <a:gd name="T76" fmla="*/ 2147483646 w 602"/>
                <a:gd name="T77" fmla="*/ 2147483646 h 510"/>
                <a:gd name="T78" fmla="*/ 2147483646 w 602"/>
                <a:gd name="T79" fmla="*/ 2147483646 h 510"/>
                <a:gd name="T80" fmla="*/ 2147483646 w 602"/>
                <a:gd name="T81" fmla="*/ 2147483646 h 510"/>
                <a:gd name="T82" fmla="*/ 2147483646 w 602"/>
                <a:gd name="T83" fmla="*/ 2147483646 h 510"/>
                <a:gd name="T84" fmla="*/ 2147483646 w 602"/>
                <a:gd name="T85" fmla="*/ 2147483646 h 51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602" h="510">
                  <a:moveTo>
                    <a:pt x="572" y="509"/>
                  </a:moveTo>
                  <a:lnTo>
                    <a:pt x="572" y="509"/>
                  </a:lnTo>
                  <a:cubicBezTo>
                    <a:pt x="28" y="509"/>
                    <a:pt x="28" y="509"/>
                    <a:pt x="28" y="509"/>
                  </a:cubicBezTo>
                  <a:cubicBezTo>
                    <a:pt x="14" y="509"/>
                    <a:pt x="0" y="502"/>
                    <a:pt x="0" y="481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4"/>
                    <a:pt x="14" y="0"/>
                    <a:pt x="28" y="0"/>
                  </a:cubicBezTo>
                  <a:cubicBezTo>
                    <a:pt x="42" y="0"/>
                    <a:pt x="56" y="14"/>
                    <a:pt x="56" y="28"/>
                  </a:cubicBezTo>
                  <a:cubicBezTo>
                    <a:pt x="56" y="389"/>
                    <a:pt x="56" y="389"/>
                    <a:pt x="56" y="389"/>
                  </a:cubicBezTo>
                  <a:cubicBezTo>
                    <a:pt x="56" y="452"/>
                    <a:pt x="56" y="452"/>
                    <a:pt x="56" y="452"/>
                  </a:cubicBezTo>
                  <a:cubicBezTo>
                    <a:pt x="572" y="452"/>
                    <a:pt x="572" y="452"/>
                    <a:pt x="572" y="452"/>
                  </a:cubicBezTo>
                  <a:cubicBezTo>
                    <a:pt x="594" y="452"/>
                    <a:pt x="601" y="467"/>
                    <a:pt x="601" y="481"/>
                  </a:cubicBezTo>
                  <a:cubicBezTo>
                    <a:pt x="601" y="502"/>
                    <a:pt x="594" y="509"/>
                    <a:pt x="572" y="509"/>
                  </a:cubicBezTo>
                  <a:close/>
                  <a:moveTo>
                    <a:pt x="509" y="424"/>
                  </a:moveTo>
                  <a:lnTo>
                    <a:pt x="509" y="424"/>
                  </a:lnTo>
                  <a:cubicBezTo>
                    <a:pt x="452" y="424"/>
                    <a:pt x="452" y="424"/>
                    <a:pt x="452" y="424"/>
                  </a:cubicBezTo>
                  <a:cubicBezTo>
                    <a:pt x="438" y="424"/>
                    <a:pt x="424" y="417"/>
                    <a:pt x="424" y="396"/>
                  </a:cubicBezTo>
                  <a:cubicBezTo>
                    <a:pt x="424" y="198"/>
                    <a:pt x="424" y="198"/>
                    <a:pt x="424" y="198"/>
                  </a:cubicBezTo>
                  <a:cubicBezTo>
                    <a:pt x="424" y="184"/>
                    <a:pt x="438" y="170"/>
                    <a:pt x="452" y="170"/>
                  </a:cubicBezTo>
                  <a:cubicBezTo>
                    <a:pt x="509" y="170"/>
                    <a:pt x="509" y="170"/>
                    <a:pt x="509" y="170"/>
                  </a:cubicBezTo>
                  <a:cubicBezTo>
                    <a:pt x="523" y="170"/>
                    <a:pt x="537" y="184"/>
                    <a:pt x="537" y="198"/>
                  </a:cubicBezTo>
                  <a:cubicBezTo>
                    <a:pt x="537" y="396"/>
                    <a:pt x="537" y="396"/>
                    <a:pt x="537" y="396"/>
                  </a:cubicBezTo>
                  <a:cubicBezTo>
                    <a:pt x="537" y="417"/>
                    <a:pt x="523" y="424"/>
                    <a:pt x="509" y="424"/>
                  </a:cubicBezTo>
                  <a:close/>
                  <a:moveTo>
                    <a:pt x="346" y="424"/>
                  </a:moveTo>
                  <a:lnTo>
                    <a:pt x="346" y="424"/>
                  </a:lnTo>
                  <a:cubicBezTo>
                    <a:pt x="290" y="424"/>
                    <a:pt x="290" y="424"/>
                    <a:pt x="290" y="424"/>
                  </a:cubicBezTo>
                  <a:cubicBezTo>
                    <a:pt x="276" y="424"/>
                    <a:pt x="261" y="417"/>
                    <a:pt x="261" y="396"/>
                  </a:cubicBezTo>
                  <a:cubicBezTo>
                    <a:pt x="261" y="85"/>
                    <a:pt x="261" y="85"/>
                    <a:pt x="261" y="85"/>
                  </a:cubicBezTo>
                  <a:cubicBezTo>
                    <a:pt x="261" y="71"/>
                    <a:pt x="276" y="57"/>
                    <a:pt x="290" y="57"/>
                  </a:cubicBezTo>
                  <a:cubicBezTo>
                    <a:pt x="346" y="57"/>
                    <a:pt x="346" y="57"/>
                    <a:pt x="346" y="57"/>
                  </a:cubicBezTo>
                  <a:cubicBezTo>
                    <a:pt x="367" y="57"/>
                    <a:pt x="374" y="71"/>
                    <a:pt x="374" y="85"/>
                  </a:cubicBezTo>
                  <a:cubicBezTo>
                    <a:pt x="374" y="396"/>
                    <a:pt x="374" y="396"/>
                    <a:pt x="374" y="396"/>
                  </a:cubicBezTo>
                  <a:cubicBezTo>
                    <a:pt x="374" y="417"/>
                    <a:pt x="367" y="424"/>
                    <a:pt x="346" y="424"/>
                  </a:cubicBezTo>
                  <a:close/>
                  <a:moveTo>
                    <a:pt x="191" y="424"/>
                  </a:moveTo>
                  <a:lnTo>
                    <a:pt x="191" y="424"/>
                  </a:lnTo>
                  <a:cubicBezTo>
                    <a:pt x="134" y="424"/>
                    <a:pt x="134" y="424"/>
                    <a:pt x="134" y="424"/>
                  </a:cubicBezTo>
                  <a:cubicBezTo>
                    <a:pt x="113" y="424"/>
                    <a:pt x="106" y="417"/>
                    <a:pt x="106" y="396"/>
                  </a:cubicBezTo>
                  <a:cubicBezTo>
                    <a:pt x="106" y="339"/>
                    <a:pt x="106" y="339"/>
                    <a:pt x="106" y="339"/>
                  </a:cubicBezTo>
                  <a:cubicBezTo>
                    <a:pt x="106" y="325"/>
                    <a:pt x="113" y="311"/>
                    <a:pt x="134" y="311"/>
                  </a:cubicBezTo>
                  <a:cubicBezTo>
                    <a:pt x="191" y="311"/>
                    <a:pt x="191" y="311"/>
                    <a:pt x="191" y="311"/>
                  </a:cubicBezTo>
                  <a:cubicBezTo>
                    <a:pt x="205" y="311"/>
                    <a:pt x="219" y="325"/>
                    <a:pt x="219" y="339"/>
                  </a:cubicBezTo>
                  <a:cubicBezTo>
                    <a:pt x="219" y="396"/>
                    <a:pt x="219" y="396"/>
                    <a:pt x="219" y="396"/>
                  </a:cubicBezTo>
                  <a:cubicBezTo>
                    <a:pt x="219" y="417"/>
                    <a:pt x="205" y="424"/>
                    <a:pt x="191" y="424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wrap="none" anchor="ctr"/>
            <a:lstStyle/>
            <a:p>
              <a:endParaRPr lang="en-GB" dirty="0"/>
            </a:p>
          </p:txBody>
        </p:sp>
      </p:grpSp>
      <p:sp>
        <p:nvSpPr>
          <p:cNvPr id="209" name="Rechteck 208"/>
          <p:cNvSpPr/>
          <p:nvPr/>
        </p:nvSpPr>
        <p:spPr>
          <a:xfrm>
            <a:off x="4989924" y="5521367"/>
            <a:ext cx="1275362" cy="60583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0" name="btfpLayoutConfig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de-DE" sz="100" dirty="0">
                <a:solidFill>
                  <a:srgbClr val="FFFFFF">
                    <a:alpha val="0"/>
                  </a:srgbClr>
                </a:solidFill>
              </a:rPr>
              <a:t>overall_1_132077573883183115 columns_1_132077573883183115 </a:t>
            </a: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3615596" y="5757768"/>
            <a:ext cx="1180504" cy="129118"/>
          </a:xfrm>
          <a:prstGeom prst="rect">
            <a:avLst/>
          </a:prstGeom>
        </p:spPr>
      </p:pic>
      <p:sp>
        <p:nvSpPr>
          <p:cNvPr id="114" name="Rechteck 113"/>
          <p:cNvSpPr/>
          <p:nvPr/>
        </p:nvSpPr>
        <p:spPr>
          <a:xfrm>
            <a:off x="6409286" y="5521367"/>
            <a:ext cx="1275362" cy="60583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2502" y="1992297"/>
            <a:ext cx="1230207" cy="165605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3848" y="4912593"/>
            <a:ext cx="1044000" cy="360755"/>
          </a:xfrm>
          <a:prstGeom prst="rect">
            <a:avLst/>
          </a:prstGeom>
        </p:spPr>
      </p:pic>
      <p:pic>
        <p:nvPicPr>
          <p:cNvPr id="19" name="Grafik 18"/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6524967" y="5613553"/>
            <a:ext cx="1044000" cy="433223"/>
          </a:xfrm>
          <a:prstGeom prst="rect">
            <a:avLst/>
          </a:prstGeom>
        </p:spPr>
      </p:pic>
      <p:pic>
        <p:nvPicPr>
          <p:cNvPr id="45185" name="Picture 129" descr="Logo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469" y="4794059"/>
            <a:ext cx="1139814" cy="2412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336AAB80-3301-3850-5BB7-C650AA0FD390}"/>
              </a:ext>
            </a:extLst>
          </p:cNvPr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5023985" y="5741915"/>
            <a:ext cx="1192690" cy="161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59279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de-DE" sz="340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üringer Schwerpunktbranch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13123D-ADC2-423E-8E38-66EF22156AFA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Basierend auf dem Umsatz</a:t>
            </a:r>
          </a:p>
        </p:txBody>
      </p:sp>
      <p:sp>
        <p:nvSpPr>
          <p:cNvPr id="31" name="Rechteck 30"/>
          <p:cNvSpPr/>
          <p:nvPr/>
        </p:nvSpPr>
        <p:spPr>
          <a:xfrm>
            <a:off x="731838" y="6566824"/>
            <a:ext cx="10152000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r>
              <a:rPr lang="de-DE" sz="1000" dirty="0">
                <a:solidFill>
                  <a:srgbClr val="445469"/>
                </a:solidFill>
                <a:latin typeface="Fira Sans" panose="020B0503050000020004" pitchFamily="34" charset="0"/>
              </a:rPr>
              <a:t>Quelle: Eigene Berechnungen basierend auf Daten des Thüringer Landesamtes für Statistik (TLS) vom </a:t>
            </a:r>
            <a:r>
              <a:rPr lang="de-DE" sz="1000">
                <a:solidFill>
                  <a:srgbClr val="445469"/>
                </a:solidFill>
                <a:latin typeface="Fira Sans" panose="020B0503050000020004" pitchFamily="34" charset="0"/>
              </a:rPr>
              <a:t>Juli 2023</a:t>
            </a:r>
            <a:endParaRPr lang="de-DE" sz="1000" dirty="0">
              <a:solidFill>
                <a:srgbClr val="445469"/>
              </a:solidFill>
              <a:latin typeface="Fira Sans" panose="020B0503050000020004" pitchFamily="34" charset="0"/>
            </a:endParaRPr>
          </a:p>
        </p:txBody>
      </p:sp>
      <p:graphicFrame>
        <p:nvGraphicFramePr>
          <p:cNvPr id="11" name="Diagramm 10"/>
          <p:cNvGraphicFramePr/>
          <p:nvPr/>
        </p:nvGraphicFramePr>
        <p:xfrm>
          <a:off x="731838" y="1801116"/>
          <a:ext cx="10728325" cy="4337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2" name="Textfeld 11"/>
          <p:cNvSpPr txBox="1"/>
          <p:nvPr/>
        </p:nvSpPr>
        <p:spPr>
          <a:xfrm>
            <a:off x="8150378" y="2620225"/>
            <a:ext cx="1578958" cy="43088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de-DE" sz="1400" dirty="0"/>
              <a:t>Maschinenbau und</a:t>
            </a:r>
            <a:br>
              <a:rPr lang="de-DE" sz="1400" dirty="0"/>
            </a:br>
            <a:r>
              <a:rPr lang="de-DE" sz="1400" dirty="0"/>
              <a:t>Automobilindustrie</a:t>
            </a:r>
          </a:p>
        </p:txBody>
      </p:sp>
      <p:sp>
        <p:nvSpPr>
          <p:cNvPr id="36" name="Textfeld 35"/>
          <p:cNvSpPr txBox="1"/>
          <p:nvPr/>
        </p:nvSpPr>
        <p:spPr>
          <a:xfrm>
            <a:off x="8451861" y="4391874"/>
            <a:ext cx="2909451" cy="43088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de-DE" sz="1400" dirty="0"/>
              <a:t>Metallerzeugung, -bearbeitung und</a:t>
            </a:r>
            <a:br>
              <a:rPr lang="de-DE" sz="1400" dirty="0"/>
            </a:br>
            <a:r>
              <a:rPr lang="de-DE" sz="1400" dirty="0"/>
              <a:t>Herstellung von Metallerzeugnissen</a:t>
            </a:r>
          </a:p>
        </p:txBody>
      </p:sp>
      <p:sp>
        <p:nvSpPr>
          <p:cNvPr id="37" name="Textfeld 36"/>
          <p:cNvSpPr txBox="1"/>
          <p:nvPr/>
        </p:nvSpPr>
        <p:spPr>
          <a:xfrm>
            <a:off x="7267516" y="5656200"/>
            <a:ext cx="2579232" cy="215444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de-DE" sz="1400" dirty="0"/>
              <a:t>Elektronik, Optik, Feinmechanik</a:t>
            </a:r>
          </a:p>
        </p:txBody>
      </p:sp>
      <p:sp>
        <p:nvSpPr>
          <p:cNvPr id="38" name="Textfeld 37"/>
          <p:cNvSpPr txBox="1"/>
          <p:nvPr/>
        </p:nvSpPr>
        <p:spPr>
          <a:xfrm>
            <a:off x="1950892" y="5013176"/>
            <a:ext cx="1998945" cy="215444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r>
              <a:rPr lang="de-DE" sz="1400" dirty="0"/>
              <a:t>Nahrungsmittelindustrie</a:t>
            </a:r>
          </a:p>
        </p:txBody>
      </p:sp>
      <p:sp>
        <p:nvSpPr>
          <p:cNvPr id="39" name="Textfeld 38"/>
          <p:cNvSpPr txBox="1"/>
          <p:nvPr/>
        </p:nvSpPr>
        <p:spPr>
          <a:xfrm>
            <a:off x="2087766" y="4018380"/>
            <a:ext cx="1570943" cy="43088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r>
              <a:rPr lang="de-DE" sz="1400" dirty="0"/>
              <a:t>Gummi- und</a:t>
            </a:r>
            <a:br>
              <a:rPr lang="de-DE" sz="1400" dirty="0"/>
            </a:br>
            <a:r>
              <a:rPr lang="de-DE" sz="1400" dirty="0"/>
              <a:t>Kunststoffindustrie</a:t>
            </a:r>
          </a:p>
        </p:txBody>
      </p:sp>
      <p:sp>
        <p:nvSpPr>
          <p:cNvPr id="40" name="Textfeld 39"/>
          <p:cNvSpPr txBox="1"/>
          <p:nvPr/>
        </p:nvSpPr>
        <p:spPr>
          <a:xfrm>
            <a:off x="1104849" y="3371316"/>
            <a:ext cx="2547172" cy="215444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r>
              <a:rPr lang="de-DE" sz="1400" dirty="0"/>
              <a:t>Holz, Papier und Druckgewerbe</a:t>
            </a:r>
          </a:p>
        </p:txBody>
      </p:sp>
      <p:sp>
        <p:nvSpPr>
          <p:cNvPr id="41" name="Textfeld 40"/>
          <p:cNvSpPr txBox="1"/>
          <p:nvPr/>
        </p:nvSpPr>
        <p:spPr>
          <a:xfrm>
            <a:off x="1388647" y="2577025"/>
            <a:ext cx="2600071" cy="43088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r>
              <a:rPr lang="de-DE" sz="1400" dirty="0"/>
              <a:t>Glas, Keramik, Verarbeitung von</a:t>
            </a:r>
            <a:br>
              <a:rPr lang="de-DE" sz="1400" dirty="0"/>
            </a:br>
            <a:r>
              <a:rPr lang="de-DE" sz="1400" dirty="0"/>
              <a:t>nichtmetallischen Mineralien</a:t>
            </a:r>
          </a:p>
        </p:txBody>
      </p:sp>
      <p:sp>
        <p:nvSpPr>
          <p:cNvPr id="42" name="Textfeld 41"/>
          <p:cNvSpPr txBox="1"/>
          <p:nvPr/>
        </p:nvSpPr>
        <p:spPr>
          <a:xfrm>
            <a:off x="4035559" y="2056080"/>
            <a:ext cx="580288" cy="215444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r>
              <a:rPr lang="de-DE" sz="1400" dirty="0"/>
              <a:t>Andere</a:t>
            </a:r>
          </a:p>
        </p:txBody>
      </p:sp>
      <p:cxnSp>
        <p:nvCxnSpPr>
          <p:cNvPr id="14" name="Gerader Verbinder 13"/>
          <p:cNvCxnSpPr/>
          <p:nvPr/>
        </p:nvCxnSpPr>
        <p:spPr>
          <a:xfrm>
            <a:off x="7541232" y="2835668"/>
            <a:ext cx="521681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r Verbinder 45"/>
          <p:cNvCxnSpPr/>
          <p:nvPr/>
        </p:nvCxnSpPr>
        <p:spPr>
          <a:xfrm>
            <a:off x="7800039" y="4607318"/>
            <a:ext cx="521681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/>
          <p:cNvSpPr/>
          <p:nvPr/>
        </p:nvSpPr>
        <p:spPr>
          <a:xfrm>
            <a:off x="6598443" y="5666288"/>
            <a:ext cx="600075" cy="98240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  <a:gd name="connsiteX4" fmla="*/ 0 w 914400"/>
              <a:gd name="connsiteY4" fmla="*/ 0 h 914400"/>
              <a:gd name="connsiteX0" fmla="*/ 914400 w 1005840"/>
              <a:gd name="connsiteY0" fmla="*/ 0 h 914400"/>
              <a:gd name="connsiteX1" fmla="*/ 914400 w 1005840"/>
              <a:gd name="connsiteY1" fmla="*/ 914400 h 914400"/>
              <a:gd name="connsiteX2" fmla="*/ 0 w 1005840"/>
              <a:gd name="connsiteY2" fmla="*/ 914400 h 914400"/>
              <a:gd name="connsiteX3" fmla="*/ 0 w 1005840"/>
              <a:gd name="connsiteY3" fmla="*/ 0 h 914400"/>
              <a:gd name="connsiteX4" fmla="*/ 1005840 w 1005840"/>
              <a:gd name="connsiteY4" fmla="*/ 91440 h 914400"/>
              <a:gd name="connsiteX0" fmla="*/ 914400 w 914400"/>
              <a:gd name="connsiteY0" fmla="*/ 0 h 914400"/>
              <a:gd name="connsiteX1" fmla="*/ 914400 w 914400"/>
              <a:gd name="connsiteY1" fmla="*/ 914400 h 914400"/>
              <a:gd name="connsiteX2" fmla="*/ 0 w 914400"/>
              <a:gd name="connsiteY2" fmla="*/ 914400 h 914400"/>
              <a:gd name="connsiteX3" fmla="*/ 0 w 914400"/>
              <a:gd name="connsiteY3" fmla="*/ 0 h 914400"/>
              <a:gd name="connsiteX0" fmla="*/ 914400 w 914400"/>
              <a:gd name="connsiteY0" fmla="*/ 914400 h 914400"/>
              <a:gd name="connsiteX1" fmla="*/ 0 w 914400"/>
              <a:gd name="connsiteY1" fmla="*/ 914400 h 914400"/>
              <a:gd name="connsiteX2" fmla="*/ 0 w 914400"/>
              <a:gd name="connsiteY2" fmla="*/ 0 h 914400"/>
              <a:gd name="connsiteX0" fmla="*/ 1384661 w 1384661"/>
              <a:gd name="connsiteY0" fmla="*/ 204739 h 204739"/>
              <a:gd name="connsiteX1" fmla="*/ 470261 w 1384661"/>
              <a:gd name="connsiteY1" fmla="*/ 204739 h 204739"/>
              <a:gd name="connsiteX2" fmla="*/ 0 w 1384661"/>
              <a:gd name="connsiteY2" fmla="*/ 0 h 204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84661" h="204739">
                <a:moveTo>
                  <a:pt x="1384661" y="204739"/>
                </a:moveTo>
                <a:lnTo>
                  <a:pt x="470261" y="204739"/>
                </a:lnTo>
                <a:lnTo>
                  <a:pt x="0" y="0"/>
                </a:lnTo>
              </a:path>
            </a:pathLst>
          </a:cu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49" name="Gerader Verbinder 48"/>
          <p:cNvCxnSpPr/>
          <p:nvPr/>
        </p:nvCxnSpPr>
        <p:spPr>
          <a:xfrm>
            <a:off x="4089688" y="5120898"/>
            <a:ext cx="521681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r Verbinder 49"/>
          <p:cNvCxnSpPr/>
          <p:nvPr/>
        </p:nvCxnSpPr>
        <p:spPr>
          <a:xfrm>
            <a:off x="3759145" y="4233823"/>
            <a:ext cx="521681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r Verbinder 50"/>
          <p:cNvCxnSpPr/>
          <p:nvPr/>
        </p:nvCxnSpPr>
        <p:spPr>
          <a:xfrm>
            <a:off x="3759145" y="3479038"/>
            <a:ext cx="521681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hteck 15"/>
          <p:cNvSpPr/>
          <p:nvPr/>
        </p:nvSpPr>
        <p:spPr>
          <a:xfrm flipH="1" flipV="1">
            <a:off x="4060506" y="2787342"/>
            <a:ext cx="600075" cy="98240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  <a:gd name="connsiteX4" fmla="*/ 0 w 914400"/>
              <a:gd name="connsiteY4" fmla="*/ 0 h 914400"/>
              <a:gd name="connsiteX0" fmla="*/ 914400 w 1005840"/>
              <a:gd name="connsiteY0" fmla="*/ 0 h 914400"/>
              <a:gd name="connsiteX1" fmla="*/ 914400 w 1005840"/>
              <a:gd name="connsiteY1" fmla="*/ 914400 h 914400"/>
              <a:gd name="connsiteX2" fmla="*/ 0 w 1005840"/>
              <a:gd name="connsiteY2" fmla="*/ 914400 h 914400"/>
              <a:gd name="connsiteX3" fmla="*/ 0 w 1005840"/>
              <a:gd name="connsiteY3" fmla="*/ 0 h 914400"/>
              <a:gd name="connsiteX4" fmla="*/ 1005840 w 1005840"/>
              <a:gd name="connsiteY4" fmla="*/ 91440 h 914400"/>
              <a:gd name="connsiteX0" fmla="*/ 914400 w 914400"/>
              <a:gd name="connsiteY0" fmla="*/ 0 h 914400"/>
              <a:gd name="connsiteX1" fmla="*/ 914400 w 914400"/>
              <a:gd name="connsiteY1" fmla="*/ 914400 h 914400"/>
              <a:gd name="connsiteX2" fmla="*/ 0 w 914400"/>
              <a:gd name="connsiteY2" fmla="*/ 914400 h 914400"/>
              <a:gd name="connsiteX3" fmla="*/ 0 w 914400"/>
              <a:gd name="connsiteY3" fmla="*/ 0 h 914400"/>
              <a:gd name="connsiteX0" fmla="*/ 914400 w 914400"/>
              <a:gd name="connsiteY0" fmla="*/ 914400 h 914400"/>
              <a:gd name="connsiteX1" fmla="*/ 0 w 914400"/>
              <a:gd name="connsiteY1" fmla="*/ 914400 h 914400"/>
              <a:gd name="connsiteX2" fmla="*/ 0 w 914400"/>
              <a:gd name="connsiteY2" fmla="*/ 0 h 914400"/>
              <a:gd name="connsiteX0" fmla="*/ 1384661 w 1384661"/>
              <a:gd name="connsiteY0" fmla="*/ 204739 h 204739"/>
              <a:gd name="connsiteX1" fmla="*/ 470261 w 1384661"/>
              <a:gd name="connsiteY1" fmla="*/ 204739 h 204739"/>
              <a:gd name="connsiteX2" fmla="*/ 0 w 1384661"/>
              <a:gd name="connsiteY2" fmla="*/ 0 h 204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84661" h="204739">
                <a:moveTo>
                  <a:pt x="1384661" y="204739"/>
                </a:moveTo>
                <a:lnTo>
                  <a:pt x="470261" y="204739"/>
                </a:lnTo>
                <a:lnTo>
                  <a:pt x="0" y="0"/>
                </a:lnTo>
              </a:path>
            </a:pathLst>
          </a:cu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3" name="Rechteck 15"/>
          <p:cNvSpPr/>
          <p:nvPr/>
        </p:nvSpPr>
        <p:spPr>
          <a:xfrm flipH="1" flipV="1">
            <a:off x="4727848" y="2171604"/>
            <a:ext cx="692861" cy="149040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0 h 914400"/>
              <a:gd name="connsiteX2" fmla="*/ 914400 w 914400"/>
              <a:gd name="connsiteY2" fmla="*/ 914400 h 914400"/>
              <a:gd name="connsiteX3" fmla="*/ 0 w 914400"/>
              <a:gd name="connsiteY3" fmla="*/ 914400 h 914400"/>
              <a:gd name="connsiteX4" fmla="*/ 0 w 914400"/>
              <a:gd name="connsiteY4" fmla="*/ 0 h 914400"/>
              <a:gd name="connsiteX0" fmla="*/ 914400 w 1005840"/>
              <a:gd name="connsiteY0" fmla="*/ 0 h 914400"/>
              <a:gd name="connsiteX1" fmla="*/ 914400 w 1005840"/>
              <a:gd name="connsiteY1" fmla="*/ 914400 h 914400"/>
              <a:gd name="connsiteX2" fmla="*/ 0 w 1005840"/>
              <a:gd name="connsiteY2" fmla="*/ 914400 h 914400"/>
              <a:gd name="connsiteX3" fmla="*/ 0 w 1005840"/>
              <a:gd name="connsiteY3" fmla="*/ 0 h 914400"/>
              <a:gd name="connsiteX4" fmla="*/ 1005840 w 1005840"/>
              <a:gd name="connsiteY4" fmla="*/ 91440 h 914400"/>
              <a:gd name="connsiteX0" fmla="*/ 914400 w 914400"/>
              <a:gd name="connsiteY0" fmla="*/ 0 h 914400"/>
              <a:gd name="connsiteX1" fmla="*/ 914400 w 914400"/>
              <a:gd name="connsiteY1" fmla="*/ 914400 h 914400"/>
              <a:gd name="connsiteX2" fmla="*/ 0 w 914400"/>
              <a:gd name="connsiteY2" fmla="*/ 914400 h 914400"/>
              <a:gd name="connsiteX3" fmla="*/ 0 w 914400"/>
              <a:gd name="connsiteY3" fmla="*/ 0 h 914400"/>
              <a:gd name="connsiteX0" fmla="*/ 914400 w 914400"/>
              <a:gd name="connsiteY0" fmla="*/ 914400 h 914400"/>
              <a:gd name="connsiteX1" fmla="*/ 0 w 914400"/>
              <a:gd name="connsiteY1" fmla="*/ 914400 h 914400"/>
              <a:gd name="connsiteX2" fmla="*/ 0 w 914400"/>
              <a:gd name="connsiteY2" fmla="*/ 0 h 914400"/>
              <a:gd name="connsiteX0" fmla="*/ 1384661 w 1384661"/>
              <a:gd name="connsiteY0" fmla="*/ 204739 h 204739"/>
              <a:gd name="connsiteX1" fmla="*/ 470261 w 1384661"/>
              <a:gd name="connsiteY1" fmla="*/ 204739 h 204739"/>
              <a:gd name="connsiteX2" fmla="*/ 0 w 1384661"/>
              <a:gd name="connsiteY2" fmla="*/ 0 h 204739"/>
              <a:gd name="connsiteX0" fmla="*/ 1186852 w 1186852"/>
              <a:gd name="connsiteY0" fmla="*/ 310610 h 310610"/>
              <a:gd name="connsiteX1" fmla="*/ 272452 w 1186852"/>
              <a:gd name="connsiteY1" fmla="*/ 310610 h 310610"/>
              <a:gd name="connsiteX2" fmla="*/ 0 w 1186852"/>
              <a:gd name="connsiteY2" fmla="*/ 0 h 3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86852" h="310610">
                <a:moveTo>
                  <a:pt x="1186852" y="310610"/>
                </a:moveTo>
                <a:lnTo>
                  <a:pt x="272452" y="310610"/>
                </a:lnTo>
                <a:lnTo>
                  <a:pt x="0" y="0"/>
                </a:lnTo>
              </a:path>
            </a:pathLst>
          </a:cu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5" name="Freeform 64">
            <a:extLst>
              <a:ext uri="{FF2B5EF4-FFF2-40B4-BE49-F238E27FC236}">
                <a16:creationId xmlns:a16="http://schemas.microsoft.com/office/drawing/2014/main" id="{C40287F5-1709-472D-ABA5-382339429EB7}"/>
              </a:ext>
            </a:extLst>
          </p:cNvPr>
          <p:cNvSpPr>
            <a:spLocks noEditPoints="1"/>
          </p:cNvSpPr>
          <p:nvPr/>
        </p:nvSpPr>
        <p:spPr bwMode="auto">
          <a:xfrm>
            <a:off x="5480924" y="3431385"/>
            <a:ext cx="1238376" cy="1030746"/>
          </a:xfrm>
          <a:custGeom>
            <a:avLst/>
            <a:gdLst>
              <a:gd name="T0" fmla="*/ 2147483646 w 77"/>
              <a:gd name="T1" fmla="*/ 2147483646 h 64"/>
              <a:gd name="T2" fmla="*/ 2147483646 w 77"/>
              <a:gd name="T3" fmla="*/ 2147483646 h 64"/>
              <a:gd name="T4" fmla="*/ 2147483646 w 77"/>
              <a:gd name="T5" fmla="*/ 2147483646 h 64"/>
              <a:gd name="T6" fmla="*/ 2147483646 w 77"/>
              <a:gd name="T7" fmla="*/ 2147483646 h 64"/>
              <a:gd name="T8" fmla="*/ 2147483646 w 77"/>
              <a:gd name="T9" fmla="*/ 2147483646 h 64"/>
              <a:gd name="T10" fmla="*/ 2147483646 w 77"/>
              <a:gd name="T11" fmla="*/ 2147483646 h 64"/>
              <a:gd name="T12" fmla="*/ 2147483646 w 77"/>
              <a:gd name="T13" fmla="*/ 2147483646 h 64"/>
              <a:gd name="T14" fmla="*/ 2147483646 w 77"/>
              <a:gd name="T15" fmla="*/ 2147483646 h 64"/>
              <a:gd name="T16" fmla="*/ 2147483646 w 77"/>
              <a:gd name="T17" fmla="*/ 2147483646 h 64"/>
              <a:gd name="T18" fmla="*/ 2147483646 w 77"/>
              <a:gd name="T19" fmla="*/ 2147483646 h 64"/>
              <a:gd name="T20" fmla="*/ 2147483646 w 77"/>
              <a:gd name="T21" fmla="*/ 2147483646 h 64"/>
              <a:gd name="T22" fmla="*/ 2147483646 w 77"/>
              <a:gd name="T23" fmla="*/ 2147483646 h 64"/>
              <a:gd name="T24" fmla="*/ 0 w 77"/>
              <a:gd name="T25" fmla="*/ 2147483646 h 64"/>
              <a:gd name="T26" fmla="*/ 0 w 77"/>
              <a:gd name="T27" fmla="*/ 2147483646 h 64"/>
              <a:gd name="T28" fmla="*/ 2147483646 w 77"/>
              <a:gd name="T29" fmla="*/ 2147483646 h 64"/>
              <a:gd name="T30" fmla="*/ 2147483646 w 77"/>
              <a:gd name="T31" fmla="*/ 2147483646 h 64"/>
              <a:gd name="T32" fmla="*/ 2147483646 w 77"/>
              <a:gd name="T33" fmla="*/ 2147483646 h 64"/>
              <a:gd name="T34" fmla="*/ 2147483646 w 77"/>
              <a:gd name="T35" fmla="*/ 2147483646 h 64"/>
              <a:gd name="T36" fmla="*/ 2147483646 w 77"/>
              <a:gd name="T37" fmla="*/ 0 h 64"/>
              <a:gd name="T38" fmla="*/ 2147483646 w 77"/>
              <a:gd name="T39" fmla="*/ 0 h 64"/>
              <a:gd name="T40" fmla="*/ 2147483646 w 77"/>
              <a:gd name="T41" fmla="*/ 0 h 64"/>
              <a:gd name="T42" fmla="*/ 2147483646 w 77"/>
              <a:gd name="T43" fmla="*/ 2147483646 h 64"/>
              <a:gd name="T44" fmla="*/ 2147483646 w 77"/>
              <a:gd name="T45" fmla="*/ 2147483646 h 64"/>
              <a:gd name="T46" fmla="*/ 2147483646 w 77"/>
              <a:gd name="T47" fmla="*/ 2147483646 h 64"/>
              <a:gd name="T48" fmla="*/ 2147483646 w 77"/>
              <a:gd name="T49" fmla="*/ 2147483646 h 64"/>
              <a:gd name="T50" fmla="*/ 2147483646 w 77"/>
              <a:gd name="T51" fmla="*/ 2147483646 h 64"/>
              <a:gd name="T52" fmla="*/ 2147483646 w 77"/>
              <a:gd name="T53" fmla="*/ 2147483646 h 64"/>
              <a:gd name="T54" fmla="*/ 2147483646 w 77"/>
              <a:gd name="T55" fmla="*/ 2147483646 h 64"/>
              <a:gd name="T56" fmla="*/ 2147483646 w 77"/>
              <a:gd name="T57" fmla="*/ 2147483646 h 64"/>
              <a:gd name="T58" fmla="*/ 2147483646 w 77"/>
              <a:gd name="T59" fmla="*/ 2147483646 h 64"/>
              <a:gd name="T60" fmla="*/ 2147483646 w 77"/>
              <a:gd name="T61" fmla="*/ 2147483646 h 64"/>
              <a:gd name="T62" fmla="*/ 2147483646 w 77"/>
              <a:gd name="T63" fmla="*/ 2147483646 h 64"/>
              <a:gd name="T64" fmla="*/ 2147483646 w 77"/>
              <a:gd name="T65" fmla="*/ 2147483646 h 64"/>
              <a:gd name="T66" fmla="*/ 2147483646 w 77"/>
              <a:gd name="T67" fmla="*/ 2147483646 h 64"/>
              <a:gd name="T68" fmla="*/ 2147483646 w 77"/>
              <a:gd name="T69" fmla="*/ 2147483646 h 64"/>
              <a:gd name="T70" fmla="*/ 2147483646 w 77"/>
              <a:gd name="T71" fmla="*/ 2147483646 h 64"/>
              <a:gd name="T72" fmla="*/ 2147483646 w 77"/>
              <a:gd name="T73" fmla="*/ 2147483646 h 64"/>
              <a:gd name="T74" fmla="*/ 2147483646 w 77"/>
              <a:gd name="T75" fmla="*/ 2147483646 h 64"/>
              <a:gd name="T76" fmla="*/ 2147483646 w 77"/>
              <a:gd name="T77" fmla="*/ 2147483646 h 64"/>
              <a:gd name="T78" fmla="*/ 2147483646 w 77"/>
              <a:gd name="T79" fmla="*/ 2147483646 h 64"/>
              <a:gd name="T80" fmla="*/ 2147483646 w 77"/>
              <a:gd name="T81" fmla="*/ 2147483646 h 64"/>
              <a:gd name="T82" fmla="*/ 2147483646 w 77"/>
              <a:gd name="T83" fmla="*/ 2147483646 h 64"/>
              <a:gd name="T84" fmla="*/ 2147483646 w 77"/>
              <a:gd name="T85" fmla="*/ 2147483646 h 64"/>
              <a:gd name="T86" fmla="*/ 2147483646 w 77"/>
              <a:gd name="T87" fmla="*/ 2147483646 h 64"/>
              <a:gd name="T88" fmla="*/ 2147483646 w 77"/>
              <a:gd name="T89" fmla="*/ 2147483646 h 64"/>
              <a:gd name="T90" fmla="*/ 2147483646 w 77"/>
              <a:gd name="T91" fmla="*/ 2147483646 h 64"/>
              <a:gd name="T92" fmla="*/ 2147483646 w 77"/>
              <a:gd name="T93" fmla="*/ 2147483646 h 64"/>
              <a:gd name="T94" fmla="*/ 2147483646 w 77"/>
              <a:gd name="T95" fmla="*/ 2147483646 h 64"/>
              <a:gd name="T96" fmla="*/ 2147483646 w 77"/>
              <a:gd name="T97" fmla="*/ 2147483646 h 64"/>
              <a:gd name="T98" fmla="*/ 2147483646 w 77"/>
              <a:gd name="T99" fmla="*/ 2147483646 h 64"/>
              <a:gd name="T100" fmla="*/ 2147483646 w 77"/>
              <a:gd name="T101" fmla="*/ 2147483646 h 64"/>
              <a:gd name="T102" fmla="*/ 2147483646 w 77"/>
              <a:gd name="T103" fmla="*/ 2147483646 h 64"/>
              <a:gd name="T104" fmla="*/ 2147483646 w 77"/>
              <a:gd name="T105" fmla="*/ 2147483646 h 64"/>
              <a:gd name="T106" fmla="*/ 2147483646 w 77"/>
              <a:gd name="T107" fmla="*/ 2147483646 h 64"/>
              <a:gd name="T108" fmla="*/ 2147483646 w 77"/>
              <a:gd name="T109" fmla="*/ 2147483646 h 64"/>
              <a:gd name="T110" fmla="*/ 2147483646 w 77"/>
              <a:gd name="T111" fmla="*/ 2147483646 h 64"/>
              <a:gd name="T112" fmla="*/ 2147483646 w 77"/>
              <a:gd name="T113" fmla="*/ 2147483646 h 64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7" h="64">
                <a:moveTo>
                  <a:pt x="77" y="51"/>
                </a:moveTo>
                <a:cubicBezTo>
                  <a:pt x="77" y="53"/>
                  <a:pt x="76" y="55"/>
                  <a:pt x="75" y="55"/>
                </a:cubicBezTo>
                <a:cubicBezTo>
                  <a:pt x="59" y="63"/>
                  <a:pt x="59" y="63"/>
                  <a:pt x="59" y="63"/>
                </a:cubicBezTo>
                <a:cubicBezTo>
                  <a:pt x="58" y="64"/>
                  <a:pt x="58" y="64"/>
                  <a:pt x="57" y="64"/>
                </a:cubicBezTo>
                <a:cubicBezTo>
                  <a:pt x="56" y="64"/>
                  <a:pt x="55" y="64"/>
                  <a:pt x="55" y="63"/>
                </a:cubicBezTo>
                <a:cubicBezTo>
                  <a:pt x="39" y="55"/>
                  <a:pt x="39" y="55"/>
                  <a:pt x="39" y="55"/>
                </a:cubicBezTo>
                <a:cubicBezTo>
                  <a:pt x="39" y="55"/>
                  <a:pt x="39" y="55"/>
                  <a:pt x="39" y="55"/>
                </a:cubicBezTo>
                <a:cubicBezTo>
                  <a:pt x="39" y="55"/>
                  <a:pt x="38" y="55"/>
                  <a:pt x="38" y="55"/>
                </a:cubicBezTo>
                <a:cubicBezTo>
                  <a:pt x="22" y="63"/>
                  <a:pt x="22" y="63"/>
                  <a:pt x="22" y="63"/>
                </a:cubicBezTo>
                <a:cubicBezTo>
                  <a:pt x="22" y="64"/>
                  <a:pt x="21" y="64"/>
                  <a:pt x="20" y="64"/>
                </a:cubicBezTo>
                <a:cubicBezTo>
                  <a:pt x="20" y="64"/>
                  <a:pt x="19" y="64"/>
                  <a:pt x="18" y="63"/>
                </a:cubicBezTo>
                <a:cubicBezTo>
                  <a:pt x="2" y="55"/>
                  <a:pt x="2" y="55"/>
                  <a:pt x="2" y="55"/>
                </a:cubicBezTo>
                <a:cubicBezTo>
                  <a:pt x="1" y="55"/>
                  <a:pt x="0" y="53"/>
                  <a:pt x="0" y="51"/>
                </a:cubicBezTo>
                <a:cubicBezTo>
                  <a:pt x="0" y="37"/>
                  <a:pt x="0" y="37"/>
                  <a:pt x="0" y="37"/>
                </a:cubicBezTo>
                <a:cubicBezTo>
                  <a:pt x="0" y="35"/>
                  <a:pt x="1" y="33"/>
                  <a:pt x="3" y="32"/>
                </a:cubicBezTo>
                <a:cubicBezTo>
                  <a:pt x="18" y="26"/>
                  <a:pt x="18" y="26"/>
                  <a:pt x="18" y="26"/>
                </a:cubicBezTo>
                <a:cubicBezTo>
                  <a:pt x="18" y="11"/>
                  <a:pt x="18" y="11"/>
                  <a:pt x="18" y="11"/>
                </a:cubicBezTo>
                <a:cubicBezTo>
                  <a:pt x="18" y="10"/>
                  <a:pt x="19" y="8"/>
                  <a:pt x="21" y="7"/>
                </a:cubicBezTo>
                <a:cubicBezTo>
                  <a:pt x="37" y="0"/>
                  <a:pt x="37" y="0"/>
                  <a:pt x="37" y="0"/>
                </a:cubicBezTo>
                <a:cubicBezTo>
                  <a:pt x="37" y="0"/>
                  <a:pt x="38" y="0"/>
                  <a:pt x="39" y="0"/>
                </a:cubicBezTo>
                <a:cubicBezTo>
                  <a:pt x="39" y="0"/>
                  <a:pt x="40" y="0"/>
                  <a:pt x="40" y="0"/>
                </a:cubicBezTo>
                <a:cubicBezTo>
                  <a:pt x="56" y="7"/>
                  <a:pt x="56" y="7"/>
                  <a:pt x="56" y="7"/>
                </a:cubicBezTo>
                <a:cubicBezTo>
                  <a:pt x="58" y="8"/>
                  <a:pt x="59" y="10"/>
                  <a:pt x="59" y="11"/>
                </a:cubicBezTo>
                <a:cubicBezTo>
                  <a:pt x="59" y="26"/>
                  <a:pt x="59" y="26"/>
                  <a:pt x="59" y="26"/>
                </a:cubicBezTo>
                <a:cubicBezTo>
                  <a:pt x="75" y="32"/>
                  <a:pt x="75" y="32"/>
                  <a:pt x="75" y="32"/>
                </a:cubicBezTo>
                <a:cubicBezTo>
                  <a:pt x="76" y="33"/>
                  <a:pt x="77" y="35"/>
                  <a:pt x="77" y="37"/>
                </a:cubicBezTo>
                <a:lnTo>
                  <a:pt x="77" y="51"/>
                </a:lnTo>
                <a:close/>
                <a:moveTo>
                  <a:pt x="35" y="36"/>
                </a:moveTo>
                <a:cubicBezTo>
                  <a:pt x="20" y="30"/>
                  <a:pt x="20" y="30"/>
                  <a:pt x="20" y="30"/>
                </a:cubicBezTo>
                <a:cubicBezTo>
                  <a:pt x="6" y="36"/>
                  <a:pt x="6" y="36"/>
                  <a:pt x="6" y="36"/>
                </a:cubicBezTo>
                <a:cubicBezTo>
                  <a:pt x="20" y="42"/>
                  <a:pt x="20" y="42"/>
                  <a:pt x="20" y="42"/>
                </a:cubicBezTo>
                <a:lnTo>
                  <a:pt x="35" y="36"/>
                </a:lnTo>
                <a:close/>
                <a:moveTo>
                  <a:pt x="36" y="51"/>
                </a:moveTo>
                <a:cubicBezTo>
                  <a:pt x="36" y="40"/>
                  <a:pt x="36" y="40"/>
                  <a:pt x="36" y="40"/>
                </a:cubicBezTo>
                <a:cubicBezTo>
                  <a:pt x="23" y="46"/>
                  <a:pt x="23" y="46"/>
                  <a:pt x="23" y="46"/>
                </a:cubicBezTo>
                <a:cubicBezTo>
                  <a:pt x="23" y="58"/>
                  <a:pt x="23" y="58"/>
                  <a:pt x="23" y="58"/>
                </a:cubicBezTo>
                <a:lnTo>
                  <a:pt x="36" y="51"/>
                </a:lnTo>
                <a:close/>
                <a:moveTo>
                  <a:pt x="54" y="11"/>
                </a:moveTo>
                <a:cubicBezTo>
                  <a:pt x="39" y="5"/>
                  <a:pt x="39" y="5"/>
                  <a:pt x="39" y="5"/>
                </a:cubicBezTo>
                <a:cubicBezTo>
                  <a:pt x="23" y="11"/>
                  <a:pt x="23" y="11"/>
                  <a:pt x="23" y="11"/>
                </a:cubicBezTo>
                <a:cubicBezTo>
                  <a:pt x="39" y="18"/>
                  <a:pt x="39" y="18"/>
                  <a:pt x="39" y="18"/>
                </a:cubicBezTo>
                <a:lnTo>
                  <a:pt x="54" y="11"/>
                </a:lnTo>
                <a:close/>
                <a:moveTo>
                  <a:pt x="55" y="26"/>
                </a:moveTo>
                <a:cubicBezTo>
                  <a:pt x="55" y="16"/>
                  <a:pt x="55" y="16"/>
                  <a:pt x="55" y="16"/>
                </a:cubicBezTo>
                <a:cubicBezTo>
                  <a:pt x="41" y="22"/>
                  <a:pt x="41" y="22"/>
                  <a:pt x="41" y="22"/>
                </a:cubicBezTo>
                <a:cubicBezTo>
                  <a:pt x="41" y="32"/>
                  <a:pt x="41" y="32"/>
                  <a:pt x="41" y="32"/>
                </a:cubicBezTo>
                <a:lnTo>
                  <a:pt x="55" y="26"/>
                </a:lnTo>
                <a:close/>
                <a:moveTo>
                  <a:pt x="71" y="36"/>
                </a:moveTo>
                <a:cubicBezTo>
                  <a:pt x="57" y="30"/>
                  <a:pt x="57" y="30"/>
                  <a:pt x="57" y="30"/>
                </a:cubicBezTo>
                <a:cubicBezTo>
                  <a:pt x="42" y="36"/>
                  <a:pt x="42" y="36"/>
                  <a:pt x="42" y="36"/>
                </a:cubicBezTo>
                <a:cubicBezTo>
                  <a:pt x="57" y="42"/>
                  <a:pt x="57" y="42"/>
                  <a:pt x="57" y="42"/>
                </a:cubicBezTo>
                <a:lnTo>
                  <a:pt x="71" y="36"/>
                </a:lnTo>
                <a:close/>
                <a:moveTo>
                  <a:pt x="73" y="51"/>
                </a:moveTo>
                <a:cubicBezTo>
                  <a:pt x="73" y="40"/>
                  <a:pt x="73" y="40"/>
                  <a:pt x="73" y="40"/>
                </a:cubicBezTo>
                <a:cubicBezTo>
                  <a:pt x="59" y="46"/>
                  <a:pt x="59" y="46"/>
                  <a:pt x="59" y="46"/>
                </a:cubicBezTo>
                <a:cubicBezTo>
                  <a:pt x="59" y="58"/>
                  <a:pt x="59" y="58"/>
                  <a:pt x="59" y="58"/>
                </a:cubicBezTo>
                <a:lnTo>
                  <a:pt x="73" y="51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/>
          <a:lstStyle/>
          <a:p>
            <a:endParaRPr lang="en-GB" dirty="0"/>
          </a:p>
        </p:txBody>
      </p:sp>
      <p:sp>
        <p:nvSpPr>
          <p:cNvPr id="9" name="btfpLayoutConfig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de-DE" sz="100" dirty="0">
                <a:solidFill>
                  <a:srgbClr val="FFFFFF">
                    <a:alpha val="0"/>
                  </a:srgbClr>
                </a:solidFill>
              </a:rPr>
              <a:t>overall_1_132077574486944061 columns_1_132077574486944061 </a:t>
            </a:r>
          </a:p>
        </p:txBody>
      </p:sp>
    </p:spTree>
    <p:extLst>
      <p:ext uri="{BB962C8B-B14F-4D97-AF65-F5344CB8AC3E}">
        <p14:creationId xmlns:p14="http://schemas.microsoft.com/office/powerpoint/2010/main" val="1672624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de-DE" sz="340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pic>
        <p:nvPicPr>
          <p:cNvPr id="23" name="Bildplatzhalter 22"/>
          <p:cNvPicPr>
            <a:picLocks noGrp="1" noChangeAspect="1"/>
          </p:cNvPicPr>
          <p:nvPr>
            <p:ph type="pic" sz="quarter" idx="14"/>
          </p:nvPr>
        </p:nvPicPr>
        <p:blipFill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5" r="15"/>
          <a:stretch>
            <a:fillRect/>
          </a:stretch>
        </p:blipFill>
        <p:spPr/>
      </p:pic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tomobil- und Zulieferindustri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13123D-ADC2-423E-8E38-66EF22156AFA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17" name="Inhaltsplatzhalter 1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spcBef>
                <a:spcPts val="1000"/>
              </a:spcBef>
              <a:buNone/>
            </a:pPr>
            <a:r>
              <a:rPr lang="de-DE" b="1" dirty="0"/>
              <a:t>Beispiele</a:t>
            </a:r>
          </a:p>
          <a:p>
            <a:pPr>
              <a:spcBef>
                <a:spcPts val="1000"/>
              </a:spcBef>
            </a:pPr>
            <a:r>
              <a:rPr lang="de-DE" dirty="0"/>
              <a:t>Opel (Stellantis)</a:t>
            </a:r>
          </a:p>
          <a:p>
            <a:pPr>
              <a:spcBef>
                <a:spcPts val="1000"/>
              </a:spcBef>
            </a:pPr>
            <a:r>
              <a:rPr lang="de-DE" dirty="0"/>
              <a:t>MDC </a:t>
            </a:r>
            <a:r>
              <a:rPr lang="de-DE"/>
              <a:t>Power (Mercedes)</a:t>
            </a:r>
            <a:endParaRPr lang="de-DE" dirty="0"/>
          </a:p>
          <a:p>
            <a:pPr>
              <a:spcBef>
                <a:spcPts val="1000"/>
              </a:spcBef>
            </a:pPr>
            <a:r>
              <a:rPr lang="de-DE" dirty="0"/>
              <a:t>CATL</a:t>
            </a:r>
          </a:p>
          <a:p>
            <a:pPr>
              <a:spcBef>
                <a:spcPts val="1000"/>
              </a:spcBef>
            </a:pPr>
            <a:r>
              <a:rPr lang="de-DE" dirty="0"/>
              <a:t>BorgWarner </a:t>
            </a:r>
          </a:p>
          <a:p>
            <a:pPr>
              <a:spcBef>
                <a:spcPts val="1000"/>
              </a:spcBef>
            </a:pPr>
            <a:r>
              <a:rPr lang="de-DE" dirty="0"/>
              <a:t>IHI Charging Systems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5" name="Rechteck 14"/>
          <p:cNvSpPr/>
          <p:nvPr/>
        </p:nvSpPr>
        <p:spPr>
          <a:xfrm>
            <a:off x="6096000" y="6302131"/>
            <a:ext cx="5364163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r>
              <a:rPr lang="nn-NO" sz="1000" dirty="0">
                <a:solidFill>
                  <a:srgbClr val="445469"/>
                </a:solidFill>
                <a:latin typeface="Fira Sans" panose="020B0503050000020004" pitchFamily="34" charset="0"/>
              </a:rPr>
              <a:t>Quelle: LEG-UTD | Stand</a:t>
            </a:r>
            <a:r>
              <a:rPr lang="nn-NO" sz="1000">
                <a:solidFill>
                  <a:srgbClr val="445469"/>
                </a:solidFill>
                <a:latin typeface="Fira Sans" panose="020B0503050000020004" pitchFamily="34" charset="0"/>
              </a:rPr>
              <a:t>: Juli 2023 </a:t>
            </a:r>
            <a:r>
              <a:rPr lang="nn-NO" sz="1000" dirty="0">
                <a:solidFill>
                  <a:srgbClr val="445469"/>
                </a:solidFill>
                <a:latin typeface="Fira Sans" panose="020B0503050000020004" pitchFamily="34" charset="0"/>
              </a:rPr>
              <a:t>| Foto</a:t>
            </a:r>
            <a:r>
              <a:rPr lang="nn-NO" sz="1000">
                <a:solidFill>
                  <a:srgbClr val="445469"/>
                </a:solidFill>
                <a:latin typeface="Fira Sans" panose="020B0503050000020004" pitchFamily="34" charset="0"/>
              </a:rPr>
              <a:t>: Getty Images</a:t>
            </a:r>
            <a:endParaRPr lang="nn-NO" sz="1000" dirty="0">
              <a:solidFill>
                <a:srgbClr val="445469"/>
              </a:solidFill>
              <a:latin typeface="Fira Sans" panose="020B0503050000020004" pitchFamily="34" charset="0"/>
            </a:endParaRPr>
          </a:p>
        </p:txBody>
      </p:sp>
      <p:grpSp>
        <p:nvGrpSpPr>
          <p:cNvPr id="36" name="Gruppieren 35"/>
          <p:cNvGrpSpPr/>
          <p:nvPr/>
        </p:nvGrpSpPr>
        <p:grpSpPr>
          <a:xfrm>
            <a:off x="3236228" y="1830786"/>
            <a:ext cx="1436291" cy="796208"/>
            <a:chOff x="3027241" y="1493532"/>
            <a:chExt cx="1436291" cy="796208"/>
          </a:xfrm>
        </p:grpSpPr>
        <p:sp>
          <p:nvSpPr>
            <p:cNvPr id="25" name="Rechteck 24"/>
            <p:cNvSpPr/>
            <p:nvPr/>
          </p:nvSpPr>
          <p:spPr>
            <a:xfrm>
              <a:off x="3027241" y="2012741"/>
              <a:ext cx="1436291" cy="276999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dirty="0">
                  <a:solidFill>
                    <a:schemeClr val="bg1"/>
                  </a:solidFill>
                  <a:latin typeface="+mj-lt"/>
                </a:rPr>
                <a:t>Unternehmen</a:t>
              </a:r>
            </a:p>
          </p:txBody>
        </p:sp>
        <p:sp>
          <p:nvSpPr>
            <p:cNvPr id="26" name="Rechteck 25"/>
            <p:cNvSpPr/>
            <p:nvPr/>
          </p:nvSpPr>
          <p:spPr>
            <a:xfrm>
              <a:off x="3027241" y="1493532"/>
              <a:ext cx="726161" cy="553998"/>
            </a:xfrm>
            <a:prstGeom prst="rect">
              <a:avLst/>
            </a:prstGeom>
          </p:spPr>
          <p:txBody>
            <a:bodyPr wrap="none" lIns="0" tIns="0" rIns="0" bIns="0" anchor="b">
              <a:spAutoFit/>
            </a:bodyPr>
            <a:lstStyle/>
            <a:p>
              <a:r>
                <a:rPr lang="de-DE" sz="3600" b="1">
                  <a:solidFill>
                    <a:schemeClr val="bg1"/>
                  </a:solidFill>
                  <a:latin typeface="+mj-lt"/>
                </a:rPr>
                <a:t>730</a:t>
              </a:r>
              <a:endParaRPr lang="de-DE" sz="2400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35" name="Gruppieren 34"/>
          <p:cNvGrpSpPr/>
          <p:nvPr/>
        </p:nvGrpSpPr>
        <p:grpSpPr>
          <a:xfrm>
            <a:off x="3236228" y="3095885"/>
            <a:ext cx="1349728" cy="796208"/>
            <a:chOff x="3027241" y="3030897"/>
            <a:chExt cx="1349728" cy="796208"/>
          </a:xfrm>
        </p:grpSpPr>
        <p:sp>
          <p:nvSpPr>
            <p:cNvPr id="28" name="Rechteck 27"/>
            <p:cNvSpPr/>
            <p:nvPr/>
          </p:nvSpPr>
          <p:spPr>
            <a:xfrm>
              <a:off x="3027241" y="3550106"/>
              <a:ext cx="1298432" cy="276999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dirty="0">
                  <a:solidFill>
                    <a:schemeClr val="bg1"/>
                  </a:solidFill>
                  <a:latin typeface="+mj-lt"/>
                </a:rPr>
                <a:t>Beschäftigte</a:t>
              </a:r>
            </a:p>
          </p:txBody>
        </p:sp>
        <p:sp>
          <p:nvSpPr>
            <p:cNvPr id="29" name="Rechteck 28"/>
            <p:cNvSpPr/>
            <p:nvPr/>
          </p:nvSpPr>
          <p:spPr>
            <a:xfrm>
              <a:off x="3027241" y="3030897"/>
              <a:ext cx="1349728" cy="553998"/>
            </a:xfrm>
            <a:prstGeom prst="rect">
              <a:avLst/>
            </a:prstGeom>
          </p:spPr>
          <p:txBody>
            <a:bodyPr wrap="none" lIns="0" tIns="0" rIns="0" bIns="0" anchor="b">
              <a:spAutoFit/>
            </a:bodyPr>
            <a:lstStyle/>
            <a:p>
              <a:r>
                <a:rPr lang="de-DE" sz="3600" b="1">
                  <a:solidFill>
                    <a:schemeClr val="bg1"/>
                  </a:solidFill>
                  <a:latin typeface="+mj-lt"/>
                </a:rPr>
                <a:t>67.550</a:t>
              </a:r>
              <a:endParaRPr lang="de-DE" sz="2400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34" name="Gruppieren 33"/>
          <p:cNvGrpSpPr/>
          <p:nvPr/>
        </p:nvGrpSpPr>
        <p:grpSpPr>
          <a:xfrm>
            <a:off x="3236228" y="4360984"/>
            <a:ext cx="1856277" cy="796208"/>
            <a:chOff x="3027241" y="4568261"/>
            <a:chExt cx="1856277" cy="796208"/>
          </a:xfrm>
        </p:grpSpPr>
        <p:sp>
          <p:nvSpPr>
            <p:cNvPr id="31" name="Rechteck 30"/>
            <p:cNvSpPr/>
            <p:nvPr/>
          </p:nvSpPr>
          <p:spPr>
            <a:xfrm>
              <a:off x="3027241" y="5087470"/>
              <a:ext cx="766235" cy="276999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dirty="0">
                  <a:solidFill>
                    <a:schemeClr val="bg1"/>
                  </a:solidFill>
                  <a:latin typeface="+mj-lt"/>
                </a:rPr>
                <a:t>Umsatz</a:t>
              </a:r>
            </a:p>
          </p:txBody>
        </p:sp>
        <p:sp>
          <p:nvSpPr>
            <p:cNvPr id="32" name="Rechteck 31"/>
            <p:cNvSpPr/>
            <p:nvPr/>
          </p:nvSpPr>
          <p:spPr>
            <a:xfrm>
              <a:off x="3027241" y="4568261"/>
              <a:ext cx="1856277" cy="553998"/>
            </a:xfrm>
            <a:prstGeom prst="rect">
              <a:avLst/>
            </a:prstGeom>
          </p:spPr>
          <p:txBody>
            <a:bodyPr wrap="none" lIns="0" tIns="0" rIns="0" bIns="0" anchor="b">
              <a:spAutoFit/>
            </a:bodyPr>
            <a:lstStyle/>
            <a:p>
              <a:r>
                <a:rPr lang="de-DE" sz="3600" b="1">
                  <a:solidFill>
                    <a:schemeClr val="bg1"/>
                  </a:solidFill>
                  <a:latin typeface="+mj-lt"/>
                </a:rPr>
                <a:t>10,3</a:t>
              </a:r>
              <a:r>
                <a:rPr lang="de-DE" sz="240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de-DE" dirty="0">
                  <a:solidFill>
                    <a:schemeClr val="bg1"/>
                  </a:solidFill>
                  <a:latin typeface="+mj-lt"/>
                </a:rPr>
                <a:t>Mrd. EUR</a:t>
              </a:r>
              <a:endParaRPr lang="de-DE" sz="2400" dirty="0">
                <a:solidFill>
                  <a:schemeClr val="bg1"/>
                </a:solidFill>
                <a:latin typeface="+mj-lt"/>
              </a:endParaRPr>
            </a:p>
          </p:txBody>
        </p:sp>
      </p:grpSp>
      <p:cxnSp>
        <p:nvCxnSpPr>
          <p:cNvPr id="38" name="Gerader Verbinder 37"/>
          <p:cNvCxnSpPr/>
          <p:nvPr/>
        </p:nvCxnSpPr>
        <p:spPr>
          <a:xfrm>
            <a:off x="3268502" y="2861440"/>
            <a:ext cx="6472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/>
          <p:cNvCxnSpPr/>
          <p:nvPr/>
        </p:nvCxnSpPr>
        <p:spPr>
          <a:xfrm>
            <a:off x="3268502" y="4126539"/>
            <a:ext cx="6472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btfpLayoutConfig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de-DE" sz="100" dirty="0">
                <a:solidFill>
                  <a:srgbClr val="FFFFFF">
                    <a:alpha val="0"/>
                  </a:srgbClr>
                </a:solidFill>
              </a:rPr>
              <a:t>overall_1_132077574512643061 columns_1_132077574512643061 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4F73044B-F15C-2B8D-A26A-ECE38A018881}"/>
              </a:ext>
            </a:extLst>
          </p:cNvPr>
          <p:cNvSpPr/>
          <p:nvPr/>
        </p:nvSpPr>
        <p:spPr>
          <a:xfrm>
            <a:off x="6096000" y="4744342"/>
            <a:ext cx="586609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9388" indent="-179388" defTabSz="914400">
              <a:spcBef>
                <a:spcPts val="1200"/>
              </a:spcBef>
              <a:spcAft>
                <a:spcPts val="1200"/>
              </a:spcAft>
              <a:buFont typeface="Tahoma" panose="020B0604030504040204" pitchFamily="34" charset="0"/>
              <a:buChar char="›"/>
            </a:pPr>
            <a:r>
              <a:rPr lang="de-DE" sz="1600" dirty="0"/>
              <a:t>Etwa 80% aller Autos in Europa werden in einem Radius von 800 km hergestellt</a:t>
            </a:r>
          </a:p>
          <a:p>
            <a:pPr marL="179388" indent="-179388" defTabSz="914400">
              <a:spcBef>
                <a:spcPts val="1200"/>
              </a:spcBef>
              <a:spcAft>
                <a:spcPts val="1200"/>
              </a:spcAft>
              <a:buFont typeface="Tahoma" panose="020B0604030504040204" pitchFamily="34" charset="0"/>
              <a:buChar char="›"/>
            </a:pPr>
            <a:r>
              <a:rPr lang="de-DE" sz="1600" dirty="0"/>
              <a:t>5 der 10 umsatzstärksten Automobilzulieferer weltweit produzieren in Thüringen (Automobilwoche)</a:t>
            </a:r>
          </a:p>
        </p:txBody>
      </p:sp>
    </p:spTree>
    <p:extLst>
      <p:ext uri="{BB962C8B-B14F-4D97-AF65-F5344CB8AC3E}">
        <p14:creationId xmlns:p14="http://schemas.microsoft.com/office/powerpoint/2010/main" val="19235077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31838" y="371392"/>
            <a:ext cx="5364163" cy="1661993"/>
          </a:xfrm>
        </p:spPr>
        <p:txBody>
          <a:bodyPr/>
          <a:lstStyle/>
          <a:p>
            <a:r>
              <a:rPr lang="de-DE" sz="3600">
                <a:solidFill>
                  <a:srgbClr val="0089C1"/>
                </a:solidFill>
              </a:rPr>
              <a:t>Direkter Zugang zu führenden OEMs und</a:t>
            </a:r>
            <a:br>
              <a:rPr lang="de-DE" sz="3600">
                <a:solidFill>
                  <a:srgbClr val="0089C1"/>
                </a:solidFill>
              </a:rPr>
            </a:br>
            <a:r>
              <a:rPr lang="de-DE" sz="3600">
                <a:solidFill>
                  <a:srgbClr val="0089C1"/>
                </a:solidFill>
              </a:rPr>
              <a:t>Tier-1 Zulieferern</a:t>
            </a:r>
            <a:endParaRPr lang="de-DE">
              <a:solidFill>
                <a:srgbClr val="0089C1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731838" y="2105195"/>
            <a:ext cx="5364163" cy="3636962"/>
          </a:xfrm>
        </p:spPr>
        <p:txBody>
          <a:bodyPr/>
          <a:lstStyle/>
          <a:p>
            <a:pPr marL="0" indent="0">
              <a:spcBef>
                <a:spcPts val="1200"/>
              </a:spcBef>
              <a:buNone/>
            </a:pPr>
            <a:r>
              <a:rPr lang="de-DE" sz="1400" b="1" dirty="0"/>
              <a:t>Fahrzeiten zu OEM-Produktionsstandorten von E-Modellen</a:t>
            </a:r>
          </a:p>
          <a:p>
            <a:pPr>
              <a:spcBef>
                <a:spcPts val="300"/>
              </a:spcBef>
              <a:tabLst>
                <a:tab pos="4127500" algn="r"/>
              </a:tabLst>
            </a:pPr>
            <a:r>
              <a:rPr lang="de-DE" sz="1400" dirty="0"/>
              <a:t>Opel/PSA (Grandland)/Eisenach:	0:50 Std.</a:t>
            </a:r>
          </a:p>
          <a:p>
            <a:pPr>
              <a:spcBef>
                <a:spcPts val="300"/>
              </a:spcBef>
              <a:tabLst>
                <a:tab pos="4127500" algn="r"/>
              </a:tabLst>
            </a:pPr>
            <a:r>
              <a:rPr lang="de-DE" sz="1400" dirty="0"/>
              <a:t>BMW und Porsche/Leipzig:	1:15 Std.</a:t>
            </a:r>
          </a:p>
          <a:p>
            <a:pPr>
              <a:spcBef>
                <a:spcPts val="300"/>
              </a:spcBef>
              <a:tabLst>
                <a:tab pos="4127500" algn="r"/>
              </a:tabLst>
            </a:pPr>
            <a:r>
              <a:rPr lang="de-DE" sz="1400" dirty="0"/>
              <a:t>VW/Zwickau:	1:30 Std.</a:t>
            </a:r>
          </a:p>
          <a:p>
            <a:pPr marL="0" indent="0">
              <a:spcBef>
                <a:spcPts val="0"/>
              </a:spcBef>
              <a:buNone/>
              <a:tabLst>
                <a:tab pos="180975" algn="l"/>
                <a:tab pos="4127500" algn="r"/>
              </a:tabLst>
            </a:pPr>
            <a:r>
              <a:rPr lang="de-DE" sz="1400" dirty="0"/>
              <a:t>	sowie Emden und Hannover</a:t>
            </a:r>
          </a:p>
          <a:p>
            <a:pPr>
              <a:spcBef>
                <a:spcPts val="300"/>
              </a:spcBef>
              <a:tabLst>
                <a:tab pos="4127500" algn="r"/>
              </a:tabLst>
            </a:pPr>
            <a:r>
              <a:rPr lang="de-DE" sz="1400" dirty="0"/>
              <a:t>VW/Dresden:	2:30 Std.</a:t>
            </a:r>
          </a:p>
          <a:p>
            <a:pPr>
              <a:spcBef>
                <a:spcPts val="300"/>
              </a:spcBef>
              <a:tabLst>
                <a:tab pos="4127500" algn="r"/>
              </a:tabLst>
            </a:pPr>
            <a:r>
              <a:rPr lang="de-DE" sz="1400" dirty="0"/>
              <a:t>Daimler und Porsche/Stuttgart: 	3 Std.</a:t>
            </a:r>
          </a:p>
          <a:p>
            <a:pPr>
              <a:spcBef>
                <a:spcPts val="300"/>
              </a:spcBef>
              <a:tabLst>
                <a:tab pos="4127500" algn="r"/>
              </a:tabLst>
            </a:pPr>
            <a:r>
              <a:rPr lang="de-DE" sz="1400" dirty="0"/>
              <a:t>BMW/München:	3:15 Std.	</a:t>
            </a:r>
          </a:p>
          <a:p>
            <a:pPr>
              <a:spcBef>
                <a:spcPts val="300"/>
              </a:spcBef>
              <a:tabLst>
                <a:tab pos="4127500" algn="r"/>
              </a:tabLst>
            </a:pPr>
            <a:r>
              <a:rPr lang="de-DE" sz="1400" dirty="0"/>
              <a:t>Audi/Heilbronn:	3:20 Std.</a:t>
            </a:r>
          </a:p>
          <a:p>
            <a:pPr>
              <a:spcBef>
                <a:spcPts val="300"/>
              </a:spcBef>
              <a:tabLst>
                <a:tab pos="4127500" algn="r"/>
              </a:tabLst>
            </a:pPr>
            <a:r>
              <a:rPr lang="de-DE" sz="1400" dirty="0"/>
              <a:t>Tesla/Berlin:	3:10 Std.</a:t>
            </a:r>
          </a:p>
          <a:p>
            <a:pPr>
              <a:spcBef>
                <a:spcPts val="300"/>
              </a:spcBef>
              <a:tabLst>
                <a:tab pos="4127500" algn="r"/>
              </a:tabLst>
            </a:pPr>
            <a:r>
              <a:rPr lang="de-DE" sz="1400" dirty="0"/>
              <a:t>Mercedes/Rastatt, Sindelfingen:	3:30 Std.</a:t>
            </a:r>
          </a:p>
          <a:p>
            <a:pPr marL="0" indent="0">
              <a:spcBef>
                <a:spcPts val="0"/>
              </a:spcBef>
              <a:buNone/>
              <a:tabLst>
                <a:tab pos="180975" algn="l"/>
                <a:tab pos="4127500" algn="r"/>
              </a:tabLst>
            </a:pPr>
            <a:r>
              <a:rPr lang="de-DE" sz="1400" dirty="0"/>
              <a:t>	sowie Bremen</a:t>
            </a:r>
          </a:p>
          <a:p>
            <a:pPr>
              <a:spcBef>
                <a:spcPts val="300"/>
              </a:spcBef>
              <a:tabLst>
                <a:tab pos="4127500" algn="r"/>
              </a:tabLst>
            </a:pPr>
            <a:r>
              <a:rPr lang="de-DE" sz="1400" dirty="0"/>
              <a:t>Skoda/Mlada Boleslav, CZ:	4:00 Std.</a:t>
            </a:r>
          </a:p>
          <a:p>
            <a:pPr>
              <a:spcBef>
                <a:spcPts val="300"/>
              </a:spcBef>
              <a:tabLst>
                <a:tab pos="4127500" algn="r"/>
              </a:tabLst>
            </a:pPr>
            <a:r>
              <a:rPr lang="de-DE" sz="1400" dirty="0"/>
              <a:t>Jaguar/Graz, A:	7:00 Std.</a:t>
            </a:r>
          </a:p>
          <a:p>
            <a:pPr>
              <a:spcBef>
                <a:spcPts val="300"/>
              </a:spcBef>
              <a:tabLst>
                <a:tab pos="4127500" algn="r"/>
              </a:tabLst>
            </a:pPr>
            <a:r>
              <a:rPr lang="de-DE" sz="1400" dirty="0"/>
              <a:t>PSA/Trnava, SK:	7:00 Std.</a:t>
            </a:r>
          </a:p>
          <a:p>
            <a:pPr>
              <a:spcBef>
                <a:spcPts val="300"/>
              </a:spcBef>
              <a:tabLst>
                <a:tab pos="4127500" algn="r"/>
              </a:tabLst>
            </a:pPr>
            <a:r>
              <a:rPr lang="de-DE" sz="1400" dirty="0"/>
              <a:t>Renault/</a:t>
            </a:r>
            <a:r>
              <a:rPr lang="de-DE" sz="1400" dirty="0" err="1"/>
              <a:t>Flins</a:t>
            </a:r>
            <a:r>
              <a:rPr lang="de-DE" sz="1400" dirty="0"/>
              <a:t>, Maubeuge, </a:t>
            </a:r>
            <a:r>
              <a:rPr lang="de-DE" sz="1400" dirty="0" err="1"/>
              <a:t>Batilly</a:t>
            </a:r>
            <a:r>
              <a:rPr lang="de-DE" sz="1400" dirty="0"/>
              <a:t>, F:	6 - 8:00 Std.</a:t>
            </a:r>
          </a:p>
          <a:p>
            <a:pPr marL="0" indent="0">
              <a:spcBef>
                <a:spcPts val="1200"/>
              </a:spcBef>
              <a:buNone/>
              <a:tabLst>
                <a:tab pos="4127500" algn="r"/>
              </a:tabLst>
            </a:pPr>
            <a:r>
              <a:rPr lang="de-DE" sz="1400" dirty="0"/>
              <a:t>Zulieferer in Thüringen z.B.: ZF, Bosch, Continental, Marquardt etc.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9" name="Picture 3">
            <a:extLst>
              <a:ext uri="{FF2B5EF4-FFF2-40B4-BE49-F238E27FC236}">
                <a16:creationId xmlns:a16="http://schemas.microsoft.com/office/drawing/2014/main" id="{43C11BCA-DECA-4BAA-8445-EC1CC94C776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044" t="17616" r="26828" b="5198"/>
          <a:stretch/>
        </p:blipFill>
        <p:spPr bwMode="auto">
          <a:xfrm>
            <a:off x="6359613" y="0"/>
            <a:ext cx="5840630" cy="6858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1" name="Ellipse 10"/>
          <p:cNvSpPr>
            <a:spLocks noChangeAspect="1"/>
          </p:cNvSpPr>
          <p:nvPr/>
        </p:nvSpPr>
        <p:spPr>
          <a:xfrm>
            <a:off x="9279927" y="3591696"/>
            <a:ext cx="216000" cy="216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Ellipse 11"/>
          <p:cNvSpPr>
            <a:spLocks noChangeAspect="1"/>
          </p:cNvSpPr>
          <p:nvPr/>
        </p:nvSpPr>
        <p:spPr>
          <a:xfrm>
            <a:off x="9432327" y="2825577"/>
            <a:ext cx="216000" cy="216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Ellipse 12"/>
          <p:cNvSpPr>
            <a:spLocks noChangeAspect="1"/>
          </p:cNvSpPr>
          <p:nvPr/>
        </p:nvSpPr>
        <p:spPr>
          <a:xfrm>
            <a:off x="9963665" y="2545491"/>
            <a:ext cx="216000" cy="216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Ellipse 13"/>
          <p:cNvSpPr>
            <a:spLocks noChangeAspect="1"/>
          </p:cNvSpPr>
          <p:nvPr/>
        </p:nvSpPr>
        <p:spPr>
          <a:xfrm>
            <a:off x="10004857" y="2891481"/>
            <a:ext cx="216000" cy="216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Ellipse 14"/>
          <p:cNvSpPr>
            <a:spLocks noChangeAspect="1"/>
          </p:cNvSpPr>
          <p:nvPr/>
        </p:nvSpPr>
        <p:spPr>
          <a:xfrm>
            <a:off x="10235516" y="2693772"/>
            <a:ext cx="216000" cy="216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Ellipse 15"/>
          <p:cNvSpPr>
            <a:spLocks noChangeAspect="1"/>
          </p:cNvSpPr>
          <p:nvPr/>
        </p:nvSpPr>
        <p:spPr>
          <a:xfrm>
            <a:off x="9271684" y="3328085"/>
            <a:ext cx="216000" cy="216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Ellipse 16"/>
          <p:cNvSpPr>
            <a:spLocks noChangeAspect="1"/>
          </p:cNvSpPr>
          <p:nvPr/>
        </p:nvSpPr>
        <p:spPr>
          <a:xfrm>
            <a:off x="8975130" y="3459890"/>
            <a:ext cx="216000" cy="216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Ellipse 17"/>
          <p:cNvSpPr>
            <a:spLocks noChangeAspect="1"/>
          </p:cNvSpPr>
          <p:nvPr/>
        </p:nvSpPr>
        <p:spPr>
          <a:xfrm>
            <a:off x="8839202" y="1901578"/>
            <a:ext cx="216000" cy="216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Ellipse 18"/>
          <p:cNvSpPr>
            <a:spLocks noChangeAspect="1"/>
          </p:cNvSpPr>
          <p:nvPr/>
        </p:nvSpPr>
        <p:spPr>
          <a:xfrm>
            <a:off x="9317001" y="2267871"/>
            <a:ext cx="216000" cy="216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Ellipse 19"/>
          <p:cNvSpPr>
            <a:spLocks noChangeAspect="1"/>
          </p:cNvSpPr>
          <p:nvPr/>
        </p:nvSpPr>
        <p:spPr>
          <a:xfrm>
            <a:off x="9094575" y="2033383"/>
            <a:ext cx="216000" cy="216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Ellipse 20"/>
          <p:cNvSpPr>
            <a:spLocks noChangeAspect="1"/>
          </p:cNvSpPr>
          <p:nvPr/>
        </p:nvSpPr>
        <p:spPr>
          <a:xfrm>
            <a:off x="10179665" y="2412777"/>
            <a:ext cx="216000" cy="216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Ellipse 21"/>
          <p:cNvSpPr/>
          <p:nvPr/>
        </p:nvSpPr>
        <p:spPr>
          <a:xfrm>
            <a:off x="5608460" y="2048495"/>
            <a:ext cx="255373" cy="263611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Ellipse 22"/>
          <p:cNvSpPr>
            <a:spLocks noChangeAspect="1"/>
          </p:cNvSpPr>
          <p:nvPr/>
        </p:nvSpPr>
        <p:spPr>
          <a:xfrm>
            <a:off x="6096001" y="6196470"/>
            <a:ext cx="180000" cy="180000"/>
          </a:xfrm>
          <a:prstGeom prst="ellipse">
            <a:avLst/>
          </a:prstGeom>
          <a:solidFill>
            <a:srgbClr val="6AB023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Ellipse 23"/>
          <p:cNvSpPr>
            <a:spLocks noChangeAspect="1"/>
          </p:cNvSpPr>
          <p:nvPr/>
        </p:nvSpPr>
        <p:spPr>
          <a:xfrm>
            <a:off x="9687249" y="2891481"/>
            <a:ext cx="108000" cy="108000"/>
          </a:xfrm>
          <a:prstGeom prst="ellipse">
            <a:avLst/>
          </a:prstGeom>
          <a:solidFill>
            <a:srgbClr val="6AB023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Ellipse 24"/>
          <p:cNvSpPr>
            <a:spLocks noChangeAspect="1"/>
          </p:cNvSpPr>
          <p:nvPr/>
        </p:nvSpPr>
        <p:spPr>
          <a:xfrm>
            <a:off x="9699603" y="2994453"/>
            <a:ext cx="108000" cy="108000"/>
          </a:xfrm>
          <a:prstGeom prst="ellipse">
            <a:avLst/>
          </a:prstGeom>
          <a:solidFill>
            <a:srgbClr val="6AB023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Ellipse 25"/>
          <p:cNvSpPr>
            <a:spLocks noChangeAspect="1"/>
          </p:cNvSpPr>
          <p:nvPr/>
        </p:nvSpPr>
        <p:spPr>
          <a:xfrm>
            <a:off x="9580159" y="2924427"/>
            <a:ext cx="108000" cy="108000"/>
          </a:xfrm>
          <a:prstGeom prst="ellipse">
            <a:avLst/>
          </a:prstGeom>
          <a:solidFill>
            <a:srgbClr val="6AB023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Ellipse 26"/>
          <p:cNvSpPr>
            <a:spLocks noChangeAspect="1"/>
          </p:cNvSpPr>
          <p:nvPr/>
        </p:nvSpPr>
        <p:spPr>
          <a:xfrm>
            <a:off x="9831413" y="2987577"/>
            <a:ext cx="108000" cy="108000"/>
          </a:xfrm>
          <a:prstGeom prst="ellipse">
            <a:avLst/>
          </a:prstGeom>
          <a:solidFill>
            <a:srgbClr val="6AB023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Ellipse 27"/>
          <p:cNvSpPr>
            <a:spLocks noChangeAspect="1"/>
          </p:cNvSpPr>
          <p:nvPr/>
        </p:nvSpPr>
        <p:spPr>
          <a:xfrm>
            <a:off x="9596410" y="3031272"/>
            <a:ext cx="108000" cy="108000"/>
          </a:xfrm>
          <a:prstGeom prst="ellipse">
            <a:avLst/>
          </a:prstGeom>
          <a:solidFill>
            <a:srgbClr val="6AB023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Ellipse 28"/>
          <p:cNvSpPr>
            <a:spLocks noChangeAspect="1"/>
          </p:cNvSpPr>
          <p:nvPr/>
        </p:nvSpPr>
        <p:spPr>
          <a:xfrm>
            <a:off x="9765057" y="2895139"/>
            <a:ext cx="108000" cy="108000"/>
          </a:xfrm>
          <a:prstGeom prst="ellipse">
            <a:avLst/>
          </a:prstGeom>
          <a:solidFill>
            <a:srgbClr val="6AB023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Ellipse 29"/>
          <p:cNvSpPr>
            <a:spLocks noChangeAspect="1"/>
          </p:cNvSpPr>
          <p:nvPr/>
        </p:nvSpPr>
        <p:spPr>
          <a:xfrm>
            <a:off x="9530394" y="3011381"/>
            <a:ext cx="108000" cy="108000"/>
          </a:xfrm>
          <a:prstGeom prst="ellipse">
            <a:avLst/>
          </a:prstGeom>
          <a:solidFill>
            <a:srgbClr val="6AB023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1" name="Ellipse 30"/>
          <p:cNvSpPr>
            <a:spLocks noChangeAspect="1"/>
          </p:cNvSpPr>
          <p:nvPr/>
        </p:nvSpPr>
        <p:spPr>
          <a:xfrm>
            <a:off x="9575582" y="2755095"/>
            <a:ext cx="108000" cy="108000"/>
          </a:xfrm>
          <a:prstGeom prst="ellipse">
            <a:avLst/>
          </a:prstGeom>
          <a:solidFill>
            <a:srgbClr val="6AB023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2" name="Ellipse 31"/>
          <p:cNvSpPr>
            <a:spLocks noChangeAspect="1"/>
          </p:cNvSpPr>
          <p:nvPr/>
        </p:nvSpPr>
        <p:spPr>
          <a:xfrm>
            <a:off x="11494030" y="3567890"/>
            <a:ext cx="216000" cy="216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3" name="Ellipse 32"/>
          <p:cNvSpPr>
            <a:spLocks noChangeAspect="1"/>
          </p:cNvSpPr>
          <p:nvPr/>
        </p:nvSpPr>
        <p:spPr>
          <a:xfrm>
            <a:off x="7429864" y="3351554"/>
            <a:ext cx="216000" cy="216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4" name="Ellipse 33"/>
          <p:cNvSpPr>
            <a:spLocks noChangeAspect="1"/>
          </p:cNvSpPr>
          <p:nvPr/>
        </p:nvSpPr>
        <p:spPr>
          <a:xfrm>
            <a:off x="10488434" y="2957381"/>
            <a:ext cx="216000" cy="216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5" name="Ellipse 34"/>
          <p:cNvSpPr>
            <a:spLocks noChangeAspect="1"/>
          </p:cNvSpPr>
          <p:nvPr/>
        </p:nvSpPr>
        <p:spPr>
          <a:xfrm>
            <a:off x="10704434" y="4101011"/>
            <a:ext cx="216000" cy="216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" name="Ellipse 35"/>
          <p:cNvSpPr>
            <a:spLocks noChangeAspect="1"/>
          </p:cNvSpPr>
          <p:nvPr/>
        </p:nvSpPr>
        <p:spPr>
          <a:xfrm>
            <a:off x="7644270" y="3048453"/>
            <a:ext cx="216000" cy="216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7" name="Ellipse 36"/>
          <p:cNvSpPr>
            <a:spLocks noChangeAspect="1"/>
          </p:cNvSpPr>
          <p:nvPr/>
        </p:nvSpPr>
        <p:spPr>
          <a:xfrm>
            <a:off x="8403240" y="3567890"/>
            <a:ext cx="216000" cy="216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458396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7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7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7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7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7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7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7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7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7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7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75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7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7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7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7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7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7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  <p:bldP spid="35" grpId="0" animBg="1"/>
      <p:bldP spid="36" grpId="0" animBg="1"/>
      <p:bldP spid="37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0" y="986945"/>
            <a:ext cx="5364163" cy="1046440"/>
          </a:xfrm>
        </p:spPr>
        <p:txBody>
          <a:bodyPr/>
          <a:lstStyle/>
          <a:p>
            <a:r>
              <a:rPr lang="de-DE"/>
              <a:t>Warum sind kurze Transportwege so wichtig?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1200"/>
              </a:spcBef>
            </a:pPr>
            <a:r>
              <a:rPr lang="de-DE" sz="1800" dirty="0"/>
              <a:t>Batterien verfügen über </a:t>
            </a:r>
            <a:r>
              <a:rPr lang="de-DE" sz="1800"/>
              <a:t>ein hohes spezifisches Gewicht (100 kWh = 550 - 600 kg Zellen)</a:t>
            </a:r>
            <a:endParaRPr lang="de-DE" sz="1800" dirty="0"/>
          </a:p>
          <a:p>
            <a:pPr>
              <a:spcBef>
                <a:spcPts val="1200"/>
              </a:spcBef>
            </a:pPr>
            <a:r>
              <a:rPr lang="de-DE" sz="1800"/>
              <a:t>Transport und Verladung </a:t>
            </a:r>
            <a:r>
              <a:rPr lang="de-DE" sz="1800" dirty="0"/>
              <a:t>bergen Qualitätsrisiken </a:t>
            </a:r>
            <a:r>
              <a:rPr lang="de-DE" sz="1800"/>
              <a:t>bei Lithium-Ionen-Batterien</a:t>
            </a:r>
            <a:endParaRPr lang="de-DE" sz="1800" dirty="0"/>
          </a:p>
          <a:p>
            <a:pPr>
              <a:spcBef>
                <a:spcPts val="1200"/>
              </a:spcBef>
            </a:pPr>
            <a:r>
              <a:rPr lang="de-DE" sz="1800" dirty="0"/>
              <a:t>Durch den hohen Wertschöpfungsanteil einer Batterie am </a:t>
            </a:r>
            <a:r>
              <a:rPr lang="de-DE" sz="1800"/>
              <a:t>E-Auto ist </a:t>
            </a:r>
            <a:r>
              <a:rPr lang="de-DE" sz="1800" dirty="0"/>
              <a:t>der CO</a:t>
            </a:r>
            <a:r>
              <a:rPr lang="de-DE" sz="1800" baseline="-25000" dirty="0"/>
              <a:t>2</a:t>
            </a:r>
            <a:r>
              <a:rPr lang="de-DE" sz="1800" dirty="0"/>
              <a:t> </a:t>
            </a:r>
            <a:r>
              <a:rPr lang="de-DE" sz="1800" dirty="0" err="1"/>
              <a:t>foot</a:t>
            </a:r>
            <a:r>
              <a:rPr lang="de-DE" sz="1800" dirty="0"/>
              <a:t> </a:t>
            </a:r>
            <a:r>
              <a:rPr lang="de-DE" sz="1800" err="1"/>
              <a:t>print</a:t>
            </a:r>
            <a:r>
              <a:rPr lang="de-DE" sz="1800"/>
              <a:t> entscheidend</a:t>
            </a:r>
            <a:endParaRPr lang="de-DE" sz="1800" dirty="0"/>
          </a:p>
          <a:p>
            <a:pPr>
              <a:spcBef>
                <a:spcPts val="1200"/>
              </a:spcBef>
            </a:pPr>
            <a:r>
              <a:rPr lang="de-DE" sz="1800" dirty="0"/>
              <a:t>Batterietransporte sind Gefahrguttransporte </a:t>
            </a:r>
          </a:p>
          <a:p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 dirty="0">
              <a:solidFill>
                <a:srgbClr val="0070C0"/>
              </a:solidFill>
            </a:endParaRPr>
          </a:p>
        </p:txBody>
      </p:sp>
      <p:pic>
        <p:nvPicPr>
          <p:cNvPr id="7" name="Bildplatzhalter 6"/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927" r="23927"/>
          <a:stretch>
            <a:fillRect/>
          </a:stretch>
        </p:blipFill>
        <p:spPr/>
      </p:pic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D301A33-0079-48E2-A660-F66390D2D0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6889" y="6568973"/>
            <a:ext cx="253274" cy="153888"/>
          </a:xfrm>
        </p:spPr>
        <p:txBody>
          <a:bodyPr/>
          <a:lstStyle/>
          <a:p>
            <a:fld id="{1213123D-ADC2-423E-8E38-66EF22156AFA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919752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F91FCC0B-A554-4072-9600-8EE05ADD03A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F91FCC0B-A554-4072-9600-8EE05ADD03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143D10C-D9B7-4C07-B16B-CE58B853D5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ighlights der Thüringer Automobilindustri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917801C-502B-4041-9233-5E78B5F81F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838" y="1773238"/>
            <a:ext cx="7537613" cy="4356100"/>
          </a:xfrm>
        </p:spPr>
        <p:txBody>
          <a:bodyPr>
            <a:normAutofit/>
          </a:bodyPr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de-DE" dirty="0"/>
              <a:t>Am größten Motoren-Standort von Daimler wird etwa die Hälfte aller </a:t>
            </a:r>
            <a:r>
              <a:rPr lang="de-DE"/>
              <a:t>Daimler-Motoren gebaut</a:t>
            </a:r>
            <a:endParaRPr lang="de-DE" dirty="0"/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dirty="0"/>
              <a:t>Größter Bosch-Standort in Ostdeutschland </a:t>
            </a:r>
            <a:r>
              <a:rPr lang="de-DE"/>
              <a:t>für High-Tech-Sensoren</a:t>
            </a:r>
            <a:endParaRPr lang="de-DE" dirty="0"/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/>
              <a:t>Weltweites BMW-Kompetenzzentrum für den Werkzeugbau (Großpresswerkzeuge und Karosserieblechteile u.a. Aluminium für Rolls-Royce)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/>
              <a:t>Doppelkupplungen </a:t>
            </a:r>
            <a:r>
              <a:rPr lang="de-DE" dirty="0"/>
              <a:t>für den </a:t>
            </a:r>
            <a:r>
              <a:rPr lang="de-DE"/>
              <a:t>Bugatti Veyron</a:t>
            </a:r>
            <a:endParaRPr lang="de-DE" dirty="0"/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 dirty="0"/>
              <a:t>Größtes und modernstes Leichtmetallräder-Werk </a:t>
            </a:r>
            <a:r>
              <a:rPr lang="de-DE"/>
              <a:t>in Europa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/>
              <a:t>Technologieführerschaften z.B. bei Linsen für Automobilscheinwerfer, umschaltbaren Sichtschutzfiltern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/>
              <a:t>Strukturbauteile für die neue Generation von Elektrofahrzeugen</a:t>
            </a:r>
            <a:br>
              <a:rPr lang="de-DE"/>
            </a:br>
            <a:r>
              <a:rPr lang="de-DE"/>
              <a:t>von VW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de-DE"/>
              <a:t>Mindestens 10 integrierte Schaltkreise in jedem Fahrzeug kommen von einem Thüringer IC-Herstelle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2FB5B82-54A2-4AF0-B986-BE05AC37FC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13.02.2025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D301A33-0079-48E2-A660-F66390D2D0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13123D-ADC2-423E-8E38-66EF22156AFA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70C22AC-C0DE-40C4-89AA-8A1129D0588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Auf einen Blick</a:t>
            </a:r>
          </a:p>
        </p:txBody>
      </p:sp>
      <p:pic>
        <p:nvPicPr>
          <p:cNvPr id="22" name="Picture 10" descr="Bildergebnis für daimler logo">
            <a:extLst>
              <a:ext uri="{FF2B5EF4-FFF2-40B4-BE49-F238E27FC236}">
                <a16:creationId xmlns:a16="http://schemas.microsoft.com/office/drawing/2014/main" id="{B3DE2228-B85D-4C0C-A0DC-C784E03399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6670" y="1556677"/>
            <a:ext cx="1902190" cy="5572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15" descr="Bildergebnis für borgwarner logo">
            <a:extLst>
              <a:ext uri="{FF2B5EF4-FFF2-40B4-BE49-F238E27FC236}">
                <a16:creationId xmlns:a16="http://schemas.microsoft.com/office/drawing/2014/main" id="{D111882E-BE9C-4713-98CA-C94112C2685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567" b="27187"/>
          <a:stretch/>
        </p:blipFill>
        <p:spPr bwMode="auto">
          <a:xfrm>
            <a:off x="9002484" y="3280498"/>
            <a:ext cx="2251620" cy="382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3700" name="Picture 4" descr="Bildergebnis für bmw logo">
            <a:extLst>
              <a:ext uri="{FF2B5EF4-FFF2-40B4-BE49-F238E27FC236}">
                <a16:creationId xmlns:a16="http://schemas.microsoft.com/office/drawing/2014/main" id="{6C7B9563-E253-433A-BCD6-00CF06BFB2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818762" y="2499527"/>
            <a:ext cx="679425" cy="679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18" descr="Bildergebnis für bosch logo">
            <a:extLst>
              <a:ext uri="{FF2B5EF4-FFF2-40B4-BE49-F238E27FC236}">
                <a16:creationId xmlns:a16="http://schemas.microsoft.com/office/drawing/2014/main" id="{41FB204B-5D81-43D3-B230-31E8A85BFE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60" t="27657" r="8421" b="27105"/>
          <a:stretch/>
        </p:blipFill>
        <p:spPr bwMode="auto">
          <a:xfrm>
            <a:off x="9183365" y="2075892"/>
            <a:ext cx="1828800" cy="4140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24C1E875-C123-40BB-A47D-174753C9CEEC}"/>
              </a:ext>
            </a:extLst>
          </p:cNvPr>
          <p:cNvCxnSpPr/>
          <p:nvPr/>
        </p:nvCxnSpPr>
        <p:spPr>
          <a:xfrm>
            <a:off x="8429625" y="1787703"/>
            <a:ext cx="0" cy="4338777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fik 1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8036" y="3804800"/>
            <a:ext cx="2013735" cy="271080"/>
          </a:xfrm>
          <a:prstGeom prst="rect">
            <a:avLst/>
          </a:prstGeom>
        </p:spPr>
      </p:pic>
      <p:pic>
        <p:nvPicPr>
          <p:cNvPr id="17" name="Bild 1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9800" y="4258704"/>
            <a:ext cx="3417727" cy="387861"/>
          </a:xfrm>
          <a:prstGeom prst="rect">
            <a:avLst/>
          </a:prstGeom>
        </p:spPr>
      </p:pic>
      <p:pic>
        <p:nvPicPr>
          <p:cNvPr id="18" name="Bild 19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4303" y="4786791"/>
            <a:ext cx="3136108" cy="527660"/>
          </a:xfrm>
          <a:prstGeom prst="rect">
            <a:avLst/>
          </a:prstGeom>
        </p:spPr>
      </p:pic>
      <p:pic>
        <p:nvPicPr>
          <p:cNvPr id="19" name="Bild 19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8169" y="5455831"/>
            <a:ext cx="1241489" cy="536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37393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60sUPPlsHAvJ6ZkcyFM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4x22kR.acEw0q1qmfAK9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2lMT_5o1h02K.ELiPc4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2lMT_5o1h02K.ELiPc4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JJim6soivy_YJuF7JfH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1d6vRv4.duyeeNoQrIV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00ew9BteMxCfRxX9qDp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IWmNg4B0wV05jHivvVx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mVuZxeH385TkPeBLr.n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SpJVH2u_SEjmcMtX90s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HDVLx9bUUi.bqwsUKbW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.MQklOzZvF00UPyEM2K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JjFJIKjbmp7c_zVdSQa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UZgGPxwKO6I6Y82XOm5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qYck2rmikccpO_nehE8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ZwP6g5ryY5cBaLkWJ97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9sylVTrp.VKqcw4Ooo2K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.q0VkNSR.fIoOrYdGEI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nHCRGq94y958tuldP8L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TW8_iEz_k9Txkwy3xFg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v2S6S1RFlE3_Kq689hg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mdk8ZN1zHkSLMFojCMR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lP1AK3I.TclenjbfBqM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lZdm530wh95dUcgEyCZ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kitxHu0VMaMUSmbvHgL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7JoRW7OBhoyXoiQyKJ.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xYb8BNr8_aWCyaLpxmI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eRsucCQg2PS5DjMHEI4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60sUPPlsHAvJ6ZkcyFM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4x22kR.acEw0q1qmfAK9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qYck2rmikccpO_nehE8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JJim6soivy_YJuF7JfH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HDVLx9bUUi.bqwsUKbW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.MQklOzZvF00UPyEM2K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JjFJIKjbmp7c_zVdSQa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UZgGPxwKO6I6Y82XOm5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ZwP6g5ryY5cBaLkWJ97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9sylVTrp.VKqcw4Ooo2K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.q0VkNSR.fIoOrYdGEI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nHCRGq94y958tuldP8L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TW8_iEz_k9Txkwy3xFg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v2S6S1RFlE3_Kq689hg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mdk8ZN1zHkSLMFojCMR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lP1AK3I.TclenjbfBqM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lZdm530wh95dUcgEyCZ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kitxHu0VMaMUSmbvHgL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7JoRW7OBhoyXoiQyKJ.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xYb8BNr8_aWCyaLpxmI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eRsucCQg2PS5DjMHEI4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_LEG_eng">
  <a:themeElements>
    <a:clrScheme name="LEG_Farben">
      <a:dk1>
        <a:srgbClr val="445469"/>
      </a:dk1>
      <a:lt1>
        <a:sysClr val="window" lastClr="FFFFFF"/>
      </a:lt1>
      <a:dk2>
        <a:srgbClr val="0089C1"/>
      </a:dk2>
      <a:lt2>
        <a:srgbClr val="FFFFFF"/>
      </a:lt2>
      <a:accent1>
        <a:srgbClr val="0089C1"/>
      </a:accent1>
      <a:accent2>
        <a:srgbClr val="6AB023"/>
      </a:accent2>
      <a:accent3>
        <a:srgbClr val="C9D30E"/>
      </a:accent3>
      <a:accent4>
        <a:srgbClr val="FFCC00"/>
      </a:accent4>
      <a:accent5>
        <a:srgbClr val="F1992D"/>
      </a:accent5>
      <a:accent6>
        <a:srgbClr val="0089C1"/>
      </a:accent6>
      <a:hlink>
        <a:srgbClr val="0089C1"/>
      </a:hlink>
      <a:folHlink>
        <a:srgbClr val="6AB023"/>
      </a:folHlink>
    </a:clrScheme>
    <a:fontScheme name="LEG Thüringen">
      <a:majorFont>
        <a:latin typeface="Fira Sans"/>
        <a:ea typeface=""/>
        <a:cs typeface=""/>
      </a:majorFont>
      <a:minorFont>
        <a:latin typeface="Fir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aster_LEG_deu">
  <a:themeElements>
    <a:clrScheme name="LEG_Farben">
      <a:dk1>
        <a:srgbClr val="445469"/>
      </a:dk1>
      <a:lt1>
        <a:sysClr val="window" lastClr="FFFFFF"/>
      </a:lt1>
      <a:dk2>
        <a:srgbClr val="0089C1"/>
      </a:dk2>
      <a:lt2>
        <a:srgbClr val="FFFFFF"/>
      </a:lt2>
      <a:accent1>
        <a:srgbClr val="0089C1"/>
      </a:accent1>
      <a:accent2>
        <a:srgbClr val="6AB023"/>
      </a:accent2>
      <a:accent3>
        <a:srgbClr val="C9D30E"/>
      </a:accent3>
      <a:accent4>
        <a:srgbClr val="FFCC00"/>
      </a:accent4>
      <a:accent5>
        <a:srgbClr val="F1992D"/>
      </a:accent5>
      <a:accent6>
        <a:srgbClr val="0089C1"/>
      </a:accent6>
      <a:hlink>
        <a:srgbClr val="0089C1"/>
      </a:hlink>
      <a:folHlink>
        <a:srgbClr val="6AB023"/>
      </a:folHlink>
    </a:clrScheme>
    <a:fontScheme name="LEG Thüringen">
      <a:majorFont>
        <a:latin typeface="Fira Sans"/>
        <a:ea typeface=""/>
        <a:cs typeface=""/>
      </a:majorFont>
      <a:minorFont>
        <a:latin typeface="Fir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aster_LEG_eng</Template>
  <TotalTime>0</TotalTime>
  <Words>1291</Words>
  <Application>Microsoft Office PowerPoint</Application>
  <PresentationFormat>Breitbild</PresentationFormat>
  <Paragraphs>262</Paragraphs>
  <Slides>18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8</vt:i4>
      </vt:variant>
    </vt:vector>
  </HeadingPairs>
  <TitlesOfParts>
    <vt:vector size="30" baseType="lpstr">
      <vt:lpstr>Arial</vt:lpstr>
      <vt:lpstr>Arial Black</vt:lpstr>
      <vt:lpstr>Calibri</vt:lpstr>
      <vt:lpstr>Calibri (Textkörper)</vt:lpstr>
      <vt:lpstr>Fira Sans</vt:lpstr>
      <vt:lpstr>Symbol</vt:lpstr>
      <vt:lpstr>Tahoma</vt:lpstr>
      <vt:lpstr>Times New Roman</vt:lpstr>
      <vt:lpstr>Wingdings</vt:lpstr>
      <vt:lpstr>Master_LEG_eng</vt:lpstr>
      <vt:lpstr>Master_LEG_deu</vt:lpstr>
      <vt:lpstr>think-cell Folie</vt:lpstr>
      <vt:lpstr>Thüringen</vt:lpstr>
      <vt:lpstr>Ihre Vorteile in Thüringen</vt:lpstr>
      <vt:lpstr>Zentrale Lage in Europa</vt:lpstr>
      <vt:lpstr>Unsere Erfolgsgeschichten 1993 - 2023</vt:lpstr>
      <vt:lpstr>Thüringer Schwerpunktbranchen</vt:lpstr>
      <vt:lpstr>Automobil- und Zulieferindustrie</vt:lpstr>
      <vt:lpstr>Direkter Zugang zu führenden OEMs und Tier-1 Zulieferern</vt:lpstr>
      <vt:lpstr>Warum sind kurze Transportwege so wichtig?</vt:lpstr>
      <vt:lpstr>Highlights der Thüringer Automobilindustrie</vt:lpstr>
      <vt:lpstr>Batterie-Giga-Fab in Thüringen</vt:lpstr>
      <vt:lpstr>Batterie-Innovations- und Technologie Center – BITC</vt:lpstr>
      <vt:lpstr>Weitere ausgewählte Forschungsinstitutionen</vt:lpstr>
      <vt:lpstr>Wertschöpfungskette Batterieproduktion in Thüringen</vt:lpstr>
      <vt:lpstr>Hochqualifizierte Fachkräfte</vt:lpstr>
      <vt:lpstr>PowerPoint-Präsentation</vt:lpstr>
      <vt:lpstr>PowerPoint-Präsentation</vt:lpstr>
      <vt:lpstr>PowerPoint-Präsentation</vt:lpstr>
      <vt:lpstr>www.invest-in-thuringia.de</vt:lpstr>
    </vt:vector>
  </TitlesOfParts>
  <Company>LEG Thueringen 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as, Christine LEG</dc:creator>
  <cp:lastModifiedBy>Michael Hofmann | cdmm GmbH JENA</cp:lastModifiedBy>
  <cp:revision>243</cp:revision>
  <cp:lastPrinted>2020-10-26T13:42:45Z</cp:lastPrinted>
  <dcterms:created xsi:type="dcterms:W3CDTF">2020-01-08T12:49:06Z</dcterms:created>
  <dcterms:modified xsi:type="dcterms:W3CDTF">2025-02-24T18:18:38Z</dcterms:modified>
</cp:coreProperties>
</file>